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notesMasterIdLst>
    <p:notesMasterId r:id="rId11"/>
  </p:notesMasterIdLst>
  <p:handoutMasterIdLst>
    <p:handoutMasterId r:id="rId12"/>
  </p:handoutMasterIdLst>
  <p:sldIdLst>
    <p:sldId id="257" r:id="rId2"/>
    <p:sldId id="258" r:id="rId3"/>
    <p:sldId id="261" r:id="rId4"/>
    <p:sldId id="262" r:id="rId5"/>
    <p:sldId id="263" r:id="rId6"/>
    <p:sldId id="264" r:id="rId7"/>
    <p:sldId id="265" r:id="rId8"/>
    <p:sldId id="266" r:id="rId9"/>
    <p:sldId id="260" r:id="rId10"/>
  </p:sldIdLst>
  <p:sldSz cx="9147175" cy="5145088"/>
  <p:notesSz cx="6797675" cy="9926638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DBB00"/>
    <a:srgbClr val="8E7D6F"/>
    <a:srgbClr val="E6E6E6"/>
    <a:srgbClr val="EDEDED"/>
    <a:srgbClr val="00B3E1"/>
    <a:srgbClr val="6BD3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40" autoAdjust="0"/>
    <p:restoredTop sz="89817" autoAdjust="0"/>
  </p:normalViewPr>
  <p:slideViewPr>
    <p:cSldViewPr snapToGrid="0">
      <p:cViewPr varScale="1">
        <p:scale>
          <a:sx n="122" d="100"/>
          <a:sy n="122" d="100"/>
        </p:scale>
        <p:origin x="208" y="496"/>
      </p:cViewPr>
      <p:guideLst/>
    </p:cSldViewPr>
  </p:slideViewPr>
  <p:outlineViewPr>
    <p:cViewPr>
      <p:scale>
        <a:sx n="33" d="100"/>
        <a:sy n="33" d="100"/>
      </p:scale>
      <p:origin x="0" y="-22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12" d="100"/>
          <a:sy n="112" d="100"/>
        </p:scale>
        <p:origin x="3234" y="1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FD8B9E88-11D9-4CF2-9006-FB7E61EB12D3}" type="datetimeFigureOut">
              <a:rPr lang="de-CH" smtClean="0"/>
              <a:t>12.12.20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2654C08F-5C88-4081-B486-8E61B3DA56B3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680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26FCBF76-4842-428B-B9BC-895BFCC1E707}" type="datetimeFigureOut">
              <a:rPr lang="de-CH" smtClean="0"/>
              <a:t>12.12.20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08563647-1664-4460-855C-29C43A08678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45500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50713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857261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39158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364743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63647-1664-4460-855C-29C43A086786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2222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175" cy="514508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91979" y="1221963"/>
            <a:ext cx="3682265" cy="338320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Rechteck 6"/>
          <p:cNvSpPr/>
          <p:nvPr userDrawn="1"/>
        </p:nvSpPr>
        <p:spPr>
          <a:xfrm>
            <a:off x="-1" y="4337050"/>
            <a:ext cx="9147175" cy="808037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4661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3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326721" y="-5454"/>
            <a:ext cx="4905859" cy="253348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5177071"/>
              <a:gd name="connsiteY0" fmla="*/ 1613317 h 1615889"/>
              <a:gd name="connsiteX1" fmla="*/ 1092467 w 5177071"/>
              <a:gd name="connsiteY1" fmla="*/ 6150 h 1615889"/>
              <a:gd name="connsiteX2" fmla="*/ 4753098 w 5177071"/>
              <a:gd name="connsiteY2" fmla="*/ 0 h 1615889"/>
              <a:gd name="connsiteX3" fmla="*/ 5073914 w 5177071"/>
              <a:gd name="connsiteY3" fmla="*/ 1615889 h 1615889"/>
              <a:gd name="connsiteX4" fmla="*/ 0 w 5177071"/>
              <a:gd name="connsiteY4" fmla="*/ 1613317 h 1615889"/>
              <a:gd name="connsiteX0" fmla="*/ 0 w 5209131"/>
              <a:gd name="connsiteY0" fmla="*/ 1607265 h 1609837"/>
              <a:gd name="connsiteX1" fmla="*/ 1092467 w 5209131"/>
              <a:gd name="connsiteY1" fmla="*/ 98 h 1609837"/>
              <a:gd name="connsiteX2" fmla="*/ 5083757 w 5209131"/>
              <a:gd name="connsiteY2" fmla="*/ 0 h 1609837"/>
              <a:gd name="connsiteX3" fmla="*/ 5073914 w 5209131"/>
              <a:gd name="connsiteY3" fmla="*/ 1609837 h 1609837"/>
              <a:gd name="connsiteX4" fmla="*/ 0 w 5209131"/>
              <a:gd name="connsiteY4" fmla="*/ 1607265 h 1609837"/>
              <a:gd name="connsiteX0" fmla="*/ 0 w 5217936"/>
              <a:gd name="connsiteY0" fmla="*/ 1610291 h 1612863"/>
              <a:gd name="connsiteX1" fmla="*/ 1092467 w 5217936"/>
              <a:gd name="connsiteY1" fmla="*/ 3124 h 1612863"/>
              <a:gd name="connsiteX2" fmla="*/ 5147916 w 5217936"/>
              <a:gd name="connsiteY2" fmla="*/ 0 h 1612863"/>
              <a:gd name="connsiteX3" fmla="*/ 5073914 w 5217936"/>
              <a:gd name="connsiteY3" fmla="*/ 1612863 h 1612863"/>
              <a:gd name="connsiteX4" fmla="*/ 0 w 5217936"/>
              <a:gd name="connsiteY4" fmla="*/ 1610291 h 1612863"/>
              <a:gd name="connsiteX0" fmla="*/ 0 w 5217937"/>
              <a:gd name="connsiteY0" fmla="*/ 1610291 h 1612863"/>
              <a:gd name="connsiteX1" fmla="*/ 1092467 w 5217937"/>
              <a:gd name="connsiteY1" fmla="*/ 3124 h 1612863"/>
              <a:gd name="connsiteX2" fmla="*/ 5147916 w 5217937"/>
              <a:gd name="connsiteY2" fmla="*/ 0 h 1612863"/>
              <a:gd name="connsiteX3" fmla="*/ 5073914 w 5217937"/>
              <a:gd name="connsiteY3" fmla="*/ 1612863 h 1612863"/>
              <a:gd name="connsiteX4" fmla="*/ 0 w 5217937"/>
              <a:gd name="connsiteY4" fmla="*/ 1610291 h 1612863"/>
              <a:gd name="connsiteX0" fmla="*/ 0 w 5272857"/>
              <a:gd name="connsiteY0" fmla="*/ 1610291 h 1612863"/>
              <a:gd name="connsiteX1" fmla="*/ 1092467 w 5272857"/>
              <a:gd name="connsiteY1" fmla="*/ 3124 h 1612863"/>
              <a:gd name="connsiteX2" fmla="*/ 5147916 w 5272857"/>
              <a:gd name="connsiteY2" fmla="*/ 0 h 1612863"/>
              <a:gd name="connsiteX3" fmla="*/ 5073914 w 5272857"/>
              <a:gd name="connsiteY3" fmla="*/ 1612863 h 1612863"/>
              <a:gd name="connsiteX4" fmla="*/ 0 w 5272857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73914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47916"/>
              <a:gd name="connsiteY0" fmla="*/ 1610291 h 1612863"/>
              <a:gd name="connsiteX1" fmla="*/ 1092467 w 5147916"/>
              <a:gd name="connsiteY1" fmla="*/ 3124 h 1612863"/>
              <a:gd name="connsiteX2" fmla="*/ 5147916 w 5147916"/>
              <a:gd name="connsiteY2" fmla="*/ 0 h 1612863"/>
              <a:gd name="connsiteX3" fmla="*/ 5039367 w 5147916"/>
              <a:gd name="connsiteY3" fmla="*/ 1612863 h 1612863"/>
              <a:gd name="connsiteX4" fmla="*/ 0 w 5147916"/>
              <a:gd name="connsiteY4" fmla="*/ 1610291 h 1612863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103500"/>
              <a:gd name="connsiteY0" fmla="*/ 1607265 h 1609837"/>
              <a:gd name="connsiteX1" fmla="*/ 1092467 w 5103500"/>
              <a:gd name="connsiteY1" fmla="*/ 98 h 1609837"/>
              <a:gd name="connsiteX2" fmla="*/ 5103500 w 5103500"/>
              <a:gd name="connsiteY2" fmla="*/ 0 h 1609837"/>
              <a:gd name="connsiteX3" fmla="*/ 5039367 w 5103500"/>
              <a:gd name="connsiteY3" fmla="*/ 1609837 h 1609837"/>
              <a:gd name="connsiteX4" fmla="*/ 0 w 5103500"/>
              <a:gd name="connsiteY4" fmla="*/ 1607265 h 1609837"/>
              <a:gd name="connsiteX0" fmla="*/ 0 w 5083759"/>
              <a:gd name="connsiteY0" fmla="*/ 1607167 h 1609739"/>
              <a:gd name="connsiteX1" fmla="*/ 1092467 w 5083759"/>
              <a:gd name="connsiteY1" fmla="*/ 0 h 1609739"/>
              <a:gd name="connsiteX2" fmla="*/ 5083759 w 5083759"/>
              <a:gd name="connsiteY2" fmla="*/ 2928 h 1609739"/>
              <a:gd name="connsiteX3" fmla="*/ 5039367 w 5083759"/>
              <a:gd name="connsiteY3" fmla="*/ 1609739 h 1609739"/>
              <a:gd name="connsiteX4" fmla="*/ 0 w 5083759"/>
              <a:gd name="connsiteY4" fmla="*/ 1607167 h 1609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83759" h="1609739">
                <a:moveTo>
                  <a:pt x="0" y="1607167"/>
                </a:moveTo>
                <a:lnTo>
                  <a:pt x="1092467" y="0"/>
                </a:lnTo>
                <a:lnTo>
                  <a:pt x="5083759" y="2928"/>
                </a:lnTo>
                <a:cubicBezTo>
                  <a:pt x="5050020" y="583418"/>
                  <a:pt x="5058283" y="998257"/>
                  <a:pt x="5039367" y="1609739"/>
                </a:cubicBezTo>
                <a:lnTo>
                  <a:pt x="0" y="160716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194073" y="2570015"/>
            <a:ext cx="6016601" cy="2602190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7405415"/>
              <a:gd name="connsiteY0" fmla="*/ 1533963 h 1542526"/>
              <a:gd name="connsiteX1" fmla="*/ 1340428 w 7405415"/>
              <a:gd name="connsiteY1" fmla="*/ 207 h 1542526"/>
              <a:gd name="connsiteX2" fmla="*/ 7405415 w 7405415"/>
              <a:gd name="connsiteY2" fmla="*/ 0 h 1542526"/>
              <a:gd name="connsiteX3" fmla="*/ 2705711 w 7405415"/>
              <a:gd name="connsiteY3" fmla="*/ 1542526 h 1542526"/>
              <a:gd name="connsiteX4" fmla="*/ 0 w 7405415"/>
              <a:gd name="connsiteY4" fmla="*/ 1533963 h 1542526"/>
              <a:gd name="connsiteX0" fmla="*/ 0 w 7341541"/>
              <a:gd name="connsiteY0" fmla="*/ 1533963 h 1542526"/>
              <a:gd name="connsiteX1" fmla="*/ 1340428 w 7341541"/>
              <a:gd name="connsiteY1" fmla="*/ 207 h 1542526"/>
              <a:gd name="connsiteX2" fmla="*/ 7341541 w 7341541"/>
              <a:gd name="connsiteY2" fmla="*/ 0 h 1542526"/>
              <a:gd name="connsiteX3" fmla="*/ 2705711 w 7341541"/>
              <a:gd name="connsiteY3" fmla="*/ 1542526 h 1542526"/>
              <a:gd name="connsiteX4" fmla="*/ 0 w 7341541"/>
              <a:gd name="connsiteY4" fmla="*/ 1533963 h 1542526"/>
              <a:gd name="connsiteX0" fmla="*/ 0 w 7515256"/>
              <a:gd name="connsiteY0" fmla="*/ 1533963 h 1534104"/>
              <a:gd name="connsiteX1" fmla="*/ 1340428 w 7515256"/>
              <a:gd name="connsiteY1" fmla="*/ 207 h 1534104"/>
              <a:gd name="connsiteX2" fmla="*/ 7341541 w 7515256"/>
              <a:gd name="connsiteY2" fmla="*/ 0 h 1534104"/>
              <a:gd name="connsiteX3" fmla="*/ 7316210 w 7515256"/>
              <a:gd name="connsiteY3" fmla="*/ 1534104 h 1534104"/>
              <a:gd name="connsiteX4" fmla="*/ 0 w 7515256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41541"/>
              <a:gd name="connsiteY0" fmla="*/ 1533963 h 1534104"/>
              <a:gd name="connsiteX1" fmla="*/ 1340428 w 7341541"/>
              <a:gd name="connsiteY1" fmla="*/ 207 h 1534104"/>
              <a:gd name="connsiteX2" fmla="*/ 7341541 w 7341541"/>
              <a:gd name="connsiteY2" fmla="*/ 0 h 1534104"/>
              <a:gd name="connsiteX3" fmla="*/ 7316210 w 7341541"/>
              <a:gd name="connsiteY3" fmla="*/ 1534104 h 1534104"/>
              <a:gd name="connsiteX4" fmla="*/ 0 w 7341541"/>
              <a:gd name="connsiteY4" fmla="*/ 1533963 h 1534104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24122"/>
              <a:gd name="connsiteY0" fmla="*/ 1533756 h 1533897"/>
              <a:gd name="connsiteX1" fmla="*/ 1340428 w 7324122"/>
              <a:gd name="connsiteY1" fmla="*/ 0 h 1533897"/>
              <a:gd name="connsiteX2" fmla="*/ 7324122 w 7324122"/>
              <a:gd name="connsiteY2" fmla="*/ 2600 h 1533897"/>
              <a:gd name="connsiteX3" fmla="*/ 7316210 w 7324122"/>
              <a:gd name="connsiteY3" fmla="*/ 1533897 h 1533897"/>
              <a:gd name="connsiteX4" fmla="*/ 0 w 7324122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  <a:gd name="connsiteX0" fmla="*/ 0 w 7335735"/>
              <a:gd name="connsiteY0" fmla="*/ 1533756 h 1533897"/>
              <a:gd name="connsiteX1" fmla="*/ 1352041 w 7335735"/>
              <a:gd name="connsiteY1" fmla="*/ 0 h 1533897"/>
              <a:gd name="connsiteX2" fmla="*/ 7335735 w 7335735"/>
              <a:gd name="connsiteY2" fmla="*/ 2600 h 1533897"/>
              <a:gd name="connsiteX3" fmla="*/ 7327823 w 7335735"/>
              <a:gd name="connsiteY3" fmla="*/ 1533897 h 1533897"/>
              <a:gd name="connsiteX4" fmla="*/ 0 w 7335735"/>
              <a:gd name="connsiteY4" fmla="*/ 1533756 h 153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35735" h="1533897">
                <a:moveTo>
                  <a:pt x="0" y="1533756"/>
                </a:moveTo>
                <a:lnTo>
                  <a:pt x="1352041" y="0"/>
                </a:lnTo>
                <a:lnTo>
                  <a:pt x="7335735" y="2600"/>
                </a:lnTo>
                <a:cubicBezTo>
                  <a:pt x="7329652" y="557353"/>
                  <a:pt x="7332496" y="837180"/>
                  <a:pt x="7327823" y="1533897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62555" y="1290825"/>
            <a:ext cx="4861229" cy="3908518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  <a:gd name="connsiteX0" fmla="*/ 20 w 4860385"/>
              <a:gd name="connsiteY0" fmla="*/ 3908518 h 3908518"/>
              <a:gd name="connsiteX1" fmla="*/ 443749 w 4860385"/>
              <a:gd name="connsiteY1" fmla="*/ 5976 h 3908518"/>
              <a:gd name="connsiteX2" fmla="*/ 4860385 w 4860385"/>
              <a:gd name="connsiteY2" fmla="*/ 0 h 3908518"/>
              <a:gd name="connsiteX3" fmla="*/ 3208483 w 4860385"/>
              <a:gd name="connsiteY3" fmla="*/ 3897027 h 3908518"/>
              <a:gd name="connsiteX4" fmla="*/ 20 w 4860385"/>
              <a:gd name="connsiteY4" fmla="*/ 3908518 h 3908518"/>
              <a:gd name="connsiteX0" fmla="*/ 864 w 4861229"/>
              <a:gd name="connsiteY0" fmla="*/ 3908518 h 3908518"/>
              <a:gd name="connsiteX1" fmla="*/ 2334 w 4861229"/>
              <a:gd name="connsiteY1" fmla="*/ 5976 h 3908518"/>
              <a:gd name="connsiteX2" fmla="*/ 4861229 w 4861229"/>
              <a:gd name="connsiteY2" fmla="*/ 0 h 3908518"/>
              <a:gd name="connsiteX3" fmla="*/ 3209327 w 4861229"/>
              <a:gd name="connsiteY3" fmla="*/ 3897027 h 3908518"/>
              <a:gd name="connsiteX4" fmla="*/ 864 w 4861229"/>
              <a:gd name="connsiteY4" fmla="*/ 3908518 h 3908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61229" h="3908518">
                <a:moveTo>
                  <a:pt x="864" y="3908518"/>
                </a:moveTo>
                <a:cubicBezTo>
                  <a:pt x="-2630" y="2619624"/>
                  <a:pt x="5828" y="1294870"/>
                  <a:pt x="2334" y="5976"/>
                </a:cubicBezTo>
                <a:lnTo>
                  <a:pt x="4861229" y="0"/>
                </a:lnTo>
                <a:lnTo>
                  <a:pt x="3209327" y="3897027"/>
                </a:lnTo>
                <a:lnTo>
                  <a:pt x="864" y="39085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200576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-spaltiger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4703229" y="1422400"/>
            <a:ext cx="38988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3913098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59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0">
          <p15:clr>
            <a:srgbClr val="FBAE40"/>
          </p15:clr>
        </p15:guide>
        <p15:guide id="2" pos="2810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-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16949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6085838" y="1422400"/>
            <a:ext cx="2520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75926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9">
          <p15:clr>
            <a:srgbClr val="FBAE40"/>
          </p15:clr>
        </p15:guide>
        <p15:guide id="2" pos="2087">
          <p15:clr>
            <a:srgbClr val="FBAE40"/>
          </p15:clr>
        </p15:guide>
        <p15:guide id="3" pos="3675">
          <p15:clr>
            <a:srgbClr val="FBAE40"/>
          </p15:clr>
        </p15:guide>
        <p15:guide id="4" pos="3827">
          <p15:clr>
            <a:srgbClr val="FBAE40"/>
          </p15:clr>
        </p15:guide>
        <p15:guide id="5" orient="horz" pos="89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4-spal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45866" y="1422400"/>
            <a:ext cx="8057777" cy="317817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43509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1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3714750"/>
            <a:ext cx="8057777" cy="101118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138113" y="4169729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976386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ten 2-zeilig + 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0" y="0"/>
            <a:ext cx="9147175" cy="51450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45866" y="3980422"/>
            <a:ext cx="8057777" cy="744818"/>
          </a:xfrm>
        </p:spPr>
        <p:txBody>
          <a:bodyPr anchor="b" anchorCtr="0"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640226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765387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9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onso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4"/>
          <p:cNvCxnSpPr/>
          <p:nvPr userDrawn="1"/>
        </p:nvCxnSpPr>
        <p:spPr>
          <a:xfrm flipH="1">
            <a:off x="1452879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2801721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511917" y="1422400"/>
            <a:ext cx="5093922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3197225" y="2113627"/>
            <a:ext cx="54086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879725" y="2806441"/>
            <a:ext cx="572611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555875" y="3499255"/>
            <a:ext cx="6049963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2201863" y="4192068"/>
            <a:ext cx="64039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64002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onsoring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99000" y="474380"/>
            <a:ext cx="390683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354934" y="1422400"/>
            <a:ext cx="4250904" cy="608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062413" y="2116461"/>
            <a:ext cx="454342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726025" y="2808362"/>
            <a:ext cx="4879814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3408363" y="3500263"/>
            <a:ext cx="5197475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3009900" y="4192166"/>
            <a:ext cx="5595938" cy="4068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108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2" name="Bildplatzhalter 21"/>
          <p:cNvSpPr>
            <a:spLocks noGrp="1"/>
          </p:cNvSpPr>
          <p:nvPr>
            <p:ph type="pic" sz="quarter" idx="17"/>
          </p:nvPr>
        </p:nvSpPr>
        <p:spPr>
          <a:xfrm>
            <a:off x="2627313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8"/>
          </p:nvPr>
        </p:nvSpPr>
        <p:spPr>
          <a:xfrm>
            <a:off x="4713288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9"/>
          </p:nvPr>
        </p:nvSpPr>
        <p:spPr>
          <a:xfrm>
            <a:off x="6799580" y="1422400"/>
            <a:ext cx="1800000" cy="97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7314" y="4392275"/>
            <a:ext cx="8064500" cy="234009"/>
          </a:xfrm>
        </p:spPr>
        <p:txBody>
          <a:bodyPr anchor="b" anchorCtr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545866" y="2526233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26273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4713438" y="2526234"/>
            <a:ext cx="1800000" cy="13680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6799488" y="2526233"/>
            <a:ext cx="1800000" cy="13684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51623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1575">
          <p15:clr>
            <a:srgbClr val="FBAE40"/>
          </p15:clr>
        </p15:guide>
        <p15:guide id="3" orient="horz" pos="2754">
          <p15:clr>
            <a:srgbClr val="FBAE40"/>
          </p15:clr>
        </p15:guide>
        <p15:guide id="4" pos="2972">
          <p15:clr>
            <a:srgbClr val="FBAE40"/>
          </p15:clr>
        </p15:guide>
        <p15:guide id="5" pos="4287">
          <p15:clr>
            <a:srgbClr val="FBAE40"/>
          </p15:clr>
        </p15:guide>
        <p15:guide id="6" pos="1656">
          <p15:clr>
            <a:srgbClr val="FBAE40"/>
          </p15:clr>
        </p15:guide>
        <p15:guide id="7" pos="2790">
          <p15:clr>
            <a:srgbClr val="FBAE40"/>
          </p15:clr>
        </p15:guide>
        <p15:guide id="8" pos="4106">
          <p15:clr>
            <a:srgbClr val="FBAE40"/>
          </p15:clr>
        </p15:guide>
        <p15:guide id="9" pos="1475">
          <p15:clr>
            <a:srgbClr val="FBAE40"/>
          </p15:clr>
        </p15:guide>
        <p15:guide id="10" orient="horz" pos="24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262890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4718050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6805613" y="1422400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6"/>
          </p:nvPr>
        </p:nvSpPr>
        <p:spPr>
          <a:xfrm>
            <a:off x="545866" y="3005138"/>
            <a:ext cx="1800225" cy="7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7"/>
          </p:nvPr>
        </p:nvSpPr>
        <p:spPr>
          <a:xfrm>
            <a:off x="262890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1" name="Bildplatzhalter 20"/>
          <p:cNvSpPr>
            <a:spLocks noGrp="1"/>
          </p:cNvSpPr>
          <p:nvPr>
            <p:ph type="pic" sz="quarter" idx="18"/>
          </p:nvPr>
        </p:nvSpPr>
        <p:spPr>
          <a:xfrm>
            <a:off x="4718050" y="3005138"/>
            <a:ext cx="1800225" cy="720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9"/>
          </p:nvPr>
        </p:nvSpPr>
        <p:spPr>
          <a:xfrm>
            <a:off x="545866" y="220545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20"/>
          </p:nvPr>
        </p:nvSpPr>
        <p:spPr>
          <a:xfrm>
            <a:off x="262890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1"/>
          </p:nvPr>
        </p:nvSpPr>
        <p:spPr>
          <a:xfrm>
            <a:off x="4718050" y="2205457"/>
            <a:ext cx="1800225" cy="646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2"/>
          </p:nvPr>
        </p:nvSpPr>
        <p:spPr>
          <a:xfrm>
            <a:off x="6805613" y="2205456"/>
            <a:ext cx="1800225" cy="64651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3"/>
          </p:nvPr>
        </p:nvSpPr>
        <p:spPr>
          <a:xfrm>
            <a:off x="545866" y="3802817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7" name="Textplatzhalter 36"/>
          <p:cNvSpPr>
            <a:spLocks noGrp="1"/>
          </p:cNvSpPr>
          <p:nvPr>
            <p:ph type="body" sz="quarter" idx="24"/>
          </p:nvPr>
        </p:nvSpPr>
        <p:spPr>
          <a:xfrm>
            <a:off x="2628900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9" name="Textplatzhalter 38"/>
          <p:cNvSpPr>
            <a:spLocks noGrp="1"/>
          </p:cNvSpPr>
          <p:nvPr>
            <p:ph type="body" sz="quarter" idx="25"/>
          </p:nvPr>
        </p:nvSpPr>
        <p:spPr>
          <a:xfrm>
            <a:off x="4724228" y="3802817"/>
            <a:ext cx="1800225" cy="6492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212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893">
          <p15:clr>
            <a:srgbClr val="FBAE40"/>
          </p15:clr>
        </p15:guide>
        <p15:guide id="10" orient="horz" pos="2392">
          <p15:clr>
            <a:srgbClr val="FBAE40"/>
          </p15:clr>
        </p15:guide>
        <p15:guide id="11" orient="horz" pos="138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Zahlen und Fakt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9FF52A-9417-B348-A7BA-C932EC279F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01909" y="-13448"/>
            <a:ext cx="8082372" cy="5158535"/>
          </a:xfrm>
          <a:prstGeom prst="parallelogram">
            <a:avLst>
              <a:gd name="adj" fmla="val 42388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33388" y="651742"/>
            <a:ext cx="3103188" cy="394724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21705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3">
          <p15:clr>
            <a:srgbClr val="FBAE40"/>
          </p15:clr>
        </p15:guide>
        <p15:guide id="2" orient="horz" pos="46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 x Bild+Text (Icon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329361" y="472894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45866" y="533908"/>
            <a:ext cx="8064500" cy="1512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6805613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545866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7"/>
          </p:nvPr>
        </p:nvSpPr>
        <p:spPr>
          <a:xfrm>
            <a:off x="2628900" y="220545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8"/>
          </p:nvPr>
        </p:nvSpPr>
        <p:spPr>
          <a:xfrm>
            <a:off x="4724874" y="220545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20"/>
          </p:nvPr>
        </p:nvSpPr>
        <p:spPr>
          <a:xfrm>
            <a:off x="545866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5"/>
          </p:nvPr>
        </p:nvSpPr>
        <p:spPr>
          <a:xfrm>
            <a:off x="2628900" y="3802817"/>
            <a:ext cx="1800225" cy="6480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26"/>
          </p:nvPr>
        </p:nvSpPr>
        <p:spPr>
          <a:xfrm>
            <a:off x="4724874" y="3803117"/>
            <a:ext cx="1800225" cy="647700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2" name="Inhaltsplatzhalter 61"/>
          <p:cNvSpPr>
            <a:spLocks noGrp="1"/>
          </p:cNvSpPr>
          <p:nvPr>
            <p:ph sz="quarter" idx="27"/>
          </p:nvPr>
        </p:nvSpPr>
        <p:spPr>
          <a:xfrm>
            <a:off x="6805613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4" name="Inhaltsplatzhalter 63"/>
          <p:cNvSpPr>
            <a:spLocks noGrp="1"/>
          </p:cNvSpPr>
          <p:nvPr>
            <p:ph sz="quarter" idx="28"/>
          </p:nvPr>
        </p:nvSpPr>
        <p:spPr>
          <a:xfrm>
            <a:off x="4718050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6" name="Inhaltsplatzhalter 65"/>
          <p:cNvSpPr>
            <a:spLocks noGrp="1"/>
          </p:cNvSpPr>
          <p:nvPr>
            <p:ph sz="quarter" idx="29"/>
          </p:nvPr>
        </p:nvSpPr>
        <p:spPr>
          <a:xfrm>
            <a:off x="2628900" y="3005138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8" name="Inhaltsplatzhalter 67"/>
          <p:cNvSpPr>
            <a:spLocks noGrp="1"/>
          </p:cNvSpPr>
          <p:nvPr>
            <p:ph sz="quarter" idx="30"/>
          </p:nvPr>
        </p:nvSpPr>
        <p:spPr>
          <a:xfrm>
            <a:off x="545866" y="3005138"/>
            <a:ext cx="1800000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1"/>
          </p:nvPr>
        </p:nvSpPr>
        <p:spPr>
          <a:xfrm>
            <a:off x="6805613" y="3803396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2" name="Inhaltsplatzhalter 71"/>
          <p:cNvSpPr>
            <a:spLocks noGrp="1"/>
          </p:cNvSpPr>
          <p:nvPr>
            <p:ph sz="quarter" idx="32"/>
          </p:nvPr>
        </p:nvSpPr>
        <p:spPr>
          <a:xfrm>
            <a:off x="545866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4" name="Inhaltsplatzhalter 73"/>
          <p:cNvSpPr>
            <a:spLocks noGrp="1"/>
          </p:cNvSpPr>
          <p:nvPr>
            <p:ph sz="quarter" idx="33"/>
          </p:nvPr>
        </p:nvSpPr>
        <p:spPr>
          <a:xfrm>
            <a:off x="2628900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6" name="Inhaltsplatzhalter 75"/>
          <p:cNvSpPr>
            <a:spLocks noGrp="1"/>
          </p:cNvSpPr>
          <p:nvPr>
            <p:ph sz="quarter" idx="34"/>
          </p:nvPr>
        </p:nvSpPr>
        <p:spPr>
          <a:xfrm>
            <a:off x="4724400" y="1422400"/>
            <a:ext cx="1800225" cy="648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8" name="Inhaltsplatzhalter 77"/>
          <p:cNvSpPr>
            <a:spLocks noGrp="1"/>
          </p:cNvSpPr>
          <p:nvPr>
            <p:ph sz="quarter" idx="35"/>
          </p:nvPr>
        </p:nvSpPr>
        <p:spPr>
          <a:xfrm>
            <a:off x="6805613" y="1422400"/>
            <a:ext cx="1800225" cy="6477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8064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1475">
          <p15:clr>
            <a:srgbClr val="FBAE40"/>
          </p15:clr>
        </p15:guide>
        <p15:guide id="3" pos="1656">
          <p15:clr>
            <a:srgbClr val="FBAE40"/>
          </p15:clr>
        </p15:guide>
        <p15:guide id="4" pos="2790">
          <p15:clr>
            <a:srgbClr val="FBAE40"/>
          </p15:clr>
        </p15:guide>
        <p15:guide id="5" pos="2972">
          <p15:clr>
            <a:srgbClr val="FBAE40"/>
          </p15:clr>
        </p15:guide>
        <p15:guide id="6" pos="4106">
          <p15:clr>
            <a:srgbClr val="FBAE40"/>
          </p15:clr>
        </p15:guide>
        <p15:guide id="7" pos="4287">
          <p15:clr>
            <a:srgbClr val="FBAE40"/>
          </p15:clr>
        </p15:guide>
        <p15:guide id="8" orient="horz" pos="1802">
          <p15:clr>
            <a:srgbClr val="FBAE40"/>
          </p15:clr>
        </p15:guide>
        <p15:guide id="9" orient="horz" pos="1388">
          <p15:clr>
            <a:srgbClr val="FBAE40"/>
          </p15:clr>
        </p15:guide>
        <p15:guide id="10" orient="horz" pos="1893">
          <p15:clr>
            <a:srgbClr val="FBAE40"/>
          </p15:clr>
        </p15:guide>
        <p15:guide id="11" orient="horz" pos="2392">
          <p15:clr>
            <a:srgbClr val="FBAE40"/>
          </p15:clr>
        </p15:guide>
        <p15:guide id="12" orient="horz" pos="2301">
          <p15:clr>
            <a:srgbClr val="FBAE40"/>
          </p15:clr>
        </p15:guide>
        <p15:guide id="13" orient="horz" pos="130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x Bild+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545866" y="1422400"/>
            <a:ext cx="2520000" cy="1186464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3643141" y="1422400"/>
            <a:ext cx="2520000" cy="118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545866" y="4378152"/>
            <a:ext cx="8064500" cy="23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545866" y="2732517"/>
            <a:ext cx="2520000" cy="13843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/>
          </p:nvPr>
        </p:nvSpPr>
        <p:spPr>
          <a:xfrm>
            <a:off x="3643141" y="2732517"/>
            <a:ext cx="2520000" cy="137795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98508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orient="horz" pos="2754">
          <p15:clr>
            <a:srgbClr val="FBAE40"/>
          </p15:clr>
        </p15:guide>
        <p15:guide id="3" pos="1928">
          <p15:clr>
            <a:srgbClr val="FBAE40"/>
          </p15:clr>
        </p15:guide>
        <p15:guide id="4" orient="horz" pos="1720">
          <p15:clr>
            <a:srgbClr val="FBAE40"/>
          </p15:clr>
        </p15:guide>
        <p15:guide id="5" pos="2291">
          <p15:clr>
            <a:srgbClr val="FBAE40"/>
          </p15:clr>
        </p15:guide>
        <p15:guide id="6" pos="3888">
          <p15:clr>
            <a:srgbClr val="FBAE40"/>
          </p15:clr>
        </p15:guide>
        <p15:guide id="7" orient="horz" pos="259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+ Text und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702347" y="1403497"/>
            <a:ext cx="3898800" cy="99493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3900487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>
          <a:xfrm>
            <a:off x="4702175" y="2514600"/>
            <a:ext cx="3903663" cy="208438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41984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798">
          <p15:clr>
            <a:srgbClr val="FBAE40"/>
          </p15:clr>
        </p15:guide>
        <p15:guide id="3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gebotsportfoli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1"/>
          </p:nvPr>
        </p:nvSpPr>
        <p:spPr>
          <a:xfrm>
            <a:off x="-4762" y="0"/>
            <a:ext cx="4303712" cy="5145088"/>
          </a:xfrm>
          <a:custGeom>
            <a:avLst/>
            <a:gdLst>
              <a:gd name="connsiteX0" fmla="*/ 0 w 4298950"/>
              <a:gd name="connsiteY0" fmla="*/ 5145088 h 5145088"/>
              <a:gd name="connsiteX1" fmla="*/ 1074738 w 4298950"/>
              <a:gd name="connsiteY1" fmla="*/ 0 h 5145088"/>
              <a:gd name="connsiteX2" fmla="*/ 4298950 w 4298950"/>
              <a:gd name="connsiteY2" fmla="*/ 0 h 5145088"/>
              <a:gd name="connsiteX3" fmla="*/ 3224213 w 4298950"/>
              <a:gd name="connsiteY3" fmla="*/ 5145088 h 5145088"/>
              <a:gd name="connsiteX4" fmla="*/ 0 w 4298950"/>
              <a:gd name="connsiteY4" fmla="*/ 5145088 h 514508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3228975 w 4303712"/>
              <a:gd name="connsiteY3" fmla="*/ 5145088 h 5145088"/>
              <a:gd name="connsiteX4" fmla="*/ 4762 w 4303712"/>
              <a:gd name="connsiteY4" fmla="*/ 5145088 h 5145088"/>
              <a:gd name="connsiteX0" fmla="*/ 4762 w 4303712"/>
              <a:gd name="connsiteY0" fmla="*/ 5145088 h 5151438"/>
              <a:gd name="connsiteX1" fmla="*/ 0 w 4303712"/>
              <a:gd name="connsiteY1" fmla="*/ 0 h 5151438"/>
              <a:gd name="connsiteX2" fmla="*/ 4303712 w 4303712"/>
              <a:gd name="connsiteY2" fmla="*/ 0 h 5151438"/>
              <a:gd name="connsiteX3" fmla="*/ 2124075 w 4303712"/>
              <a:gd name="connsiteY3" fmla="*/ 5151438 h 5151438"/>
              <a:gd name="connsiteX4" fmla="*/ 4762 w 4303712"/>
              <a:gd name="connsiteY4" fmla="*/ 5145088 h 5151438"/>
              <a:gd name="connsiteX0" fmla="*/ 4762 w 4303712"/>
              <a:gd name="connsiteY0" fmla="*/ 5145088 h 5145088"/>
              <a:gd name="connsiteX1" fmla="*/ 0 w 4303712"/>
              <a:gd name="connsiteY1" fmla="*/ 0 h 5145088"/>
              <a:gd name="connsiteX2" fmla="*/ 4303712 w 4303712"/>
              <a:gd name="connsiteY2" fmla="*/ 0 h 5145088"/>
              <a:gd name="connsiteX3" fmla="*/ 2124075 w 4303712"/>
              <a:gd name="connsiteY3" fmla="*/ 5145088 h 5145088"/>
              <a:gd name="connsiteX4" fmla="*/ 4762 w 4303712"/>
              <a:gd name="connsiteY4" fmla="*/ 5145088 h 514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3712" h="5145088">
                <a:moveTo>
                  <a:pt x="4762" y="5145088"/>
                </a:moveTo>
                <a:cubicBezTo>
                  <a:pt x="3175" y="3430059"/>
                  <a:pt x="1587" y="1715029"/>
                  <a:pt x="0" y="0"/>
                </a:cubicBezTo>
                <a:lnTo>
                  <a:pt x="4303712" y="0"/>
                </a:lnTo>
                <a:lnTo>
                  <a:pt x="2124075" y="5145088"/>
                </a:lnTo>
                <a:lnTo>
                  <a:pt x="4762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707038" y="1422400"/>
            <a:ext cx="3898800" cy="31781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707038" y="474380"/>
            <a:ext cx="389880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91680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4707038" y="1422400"/>
            <a:ext cx="38988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545866" y="2666428"/>
            <a:ext cx="2736000" cy="1932559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32863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  <p15:guide id="2" pos="2962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 und 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7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45866" y="2666426"/>
            <a:ext cx="2736000" cy="19258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529013" y="1422400"/>
            <a:ext cx="5076825" cy="317182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4"/>
          </p:nvPr>
        </p:nvSpPr>
        <p:spPr>
          <a:xfrm>
            <a:off x="545866" y="142240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5811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3">
          <p15:clr>
            <a:srgbClr val="FBAE40"/>
          </p15:clr>
        </p15:guide>
        <p15:guide id="2" orient="horz" pos="895">
          <p15:clr>
            <a:srgbClr val="FBAE40"/>
          </p15:clr>
        </p15:guide>
        <p15:guide id="3" pos="206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Per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5" name="Gerader Verbinder 14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074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orient="horz" pos="103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Adress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3290716" y="1642882"/>
            <a:ext cx="1800000" cy="2956106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5329238" y="1642882"/>
            <a:ext cx="1800000" cy="295605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>
          <a:xfrm>
            <a:off x="923768" y="908220"/>
            <a:ext cx="1044000" cy="1044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cxnSp>
        <p:nvCxnSpPr>
          <p:cNvPr id="16" name="Gerader Verbinder 15"/>
          <p:cNvCxnSpPr/>
          <p:nvPr userDrawn="1"/>
        </p:nvCxnSpPr>
        <p:spPr>
          <a:xfrm flipH="1">
            <a:off x="1857333" y="-117389"/>
            <a:ext cx="1550772" cy="36452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1743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65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pos="3210">
          <p15:clr>
            <a:srgbClr val="FBAE40"/>
          </p15:clr>
        </p15:guide>
        <p15:guide id="4" pos="3357">
          <p15:clr>
            <a:srgbClr val="FBAE40"/>
          </p15:clr>
        </p15:guide>
        <p15:guide id="5" orient="horz" pos="103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nderlogos-Übersicht Prä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ogramm 3"/>
          <p:cNvSpPr/>
          <p:nvPr userDrawn="1"/>
        </p:nvSpPr>
        <p:spPr>
          <a:xfrm>
            <a:off x="2768719" y="-7947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" name="Parallelogramm 3"/>
          <p:cNvSpPr/>
          <p:nvPr userDrawn="1"/>
        </p:nvSpPr>
        <p:spPr>
          <a:xfrm>
            <a:off x="4415964" y="-7948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" name="Parallelogramm 3"/>
          <p:cNvSpPr/>
          <p:nvPr userDrawn="1"/>
        </p:nvSpPr>
        <p:spPr>
          <a:xfrm>
            <a:off x="6063209" y="-7949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7" name="Parallelogramm 3"/>
          <p:cNvSpPr/>
          <p:nvPr userDrawn="1"/>
        </p:nvSpPr>
        <p:spPr>
          <a:xfrm>
            <a:off x="1121474" y="-7950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8" name="Parallelogramm 3"/>
          <p:cNvSpPr/>
          <p:nvPr userDrawn="1"/>
        </p:nvSpPr>
        <p:spPr>
          <a:xfrm>
            <a:off x="-525771" y="-7953"/>
            <a:ext cx="3613546" cy="5153041"/>
          </a:xfrm>
          <a:custGeom>
            <a:avLst/>
            <a:gdLst>
              <a:gd name="connsiteX0" fmla="*/ 0 w 2619633"/>
              <a:gd name="connsiteY0" fmla="*/ 5145089 h 5145089"/>
              <a:gd name="connsiteX1" fmla="*/ 2181447 w 2619633"/>
              <a:gd name="connsiteY1" fmla="*/ 0 h 5145089"/>
              <a:gd name="connsiteX2" fmla="*/ 2619633 w 2619633"/>
              <a:gd name="connsiteY2" fmla="*/ 0 h 5145089"/>
              <a:gd name="connsiteX3" fmla="*/ 438186 w 2619633"/>
              <a:gd name="connsiteY3" fmla="*/ 5145089 h 5145089"/>
              <a:gd name="connsiteX4" fmla="*/ 0 w 2619633"/>
              <a:gd name="connsiteY4" fmla="*/ 5145089 h 5145089"/>
              <a:gd name="connsiteX0" fmla="*/ 0 w 2619633"/>
              <a:gd name="connsiteY0" fmla="*/ 5153041 h 5153041"/>
              <a:gd name="connsiteX1" fmla="*/ 1163680 w 2619633"/>
              <a:gd name="connsiteY1" fmla="*/ 0 h 5153041"/>
              <a:gd name="connsiteX2" fmla="*/ 2619633 w 2619633"/>
              <a:gd name="connsiteY2" fmla="*/ 7952 h 5153041"/>
              <a:gd name="connsiteX3" fmla="*/ 438186 w 2619633"/>
              <a:gd name="connsiteY3" fmla="*/ 5153041 h 5153041"/>
              <a:gd name="connsiteX4" fmla="*/ 0 w 2619633"/>
              <a:gd name="connsiteY4" fmla="*/ 5153041 h 5153041"/>
              <a:gd name="connsiteX0" fmla="*/ 0 w 3613546"/>
              <a:gd name="connsiteY0" fmla="*/ 5153041 h 5153041"/>
              <a:gd name="connsiteX1" fmla="*/ 2157593 w 3613546"/>
              <a:gd name="connsiteY1" fmla="*/ 0 h 5153041"/>
              <a:gd name="connsiteX2" fmla="*/ 3613546 w 3613546"/>
              <a:gd name="connsiteY2" fmla="*/ 7952 h 5153041"/>
              <a:gd name="connsiteX3" fmla="*/ 1432099 w 3613546"/>
              <a:gd name="connsiteY3" fmla="*/ 5153041 h 5153041"/>
              <a:gd name="connsiteX4" fmla="*/ 0 w 3613546"/>
              <a:gd name="connsiteY4" fmla="*/ 5153041 h 5153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3546" h="5153041">
                <a:moveTo>
                  <a:pt x="0" y="5153041"/>
                </a:moveTo>
                <a:lnTo>
                  <a:pt x="2157593" y="0"/>
                </a:lnTo>
                <a:lnTo>
                  <a:pt x="3613546" y="7952"/>
                </a:lnTo>
                <a:lnTo>
                  <a:pt x="1432099" y="5153041"/>
                </a:lnTo>
                <a:lnTo>
                  <a:pt x="0" y="5153041"/>
                </a:lnTo>
                <a:close/>
              </a:path>
            </a:pathLst>
          </a:custGeom>
          <a:solidFill>
            <a:srgbClr val="EDEDE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404424" y="2297926"/>
            <a:ext cx="1139452" cy="438832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0"/>
            <a:r>
              <a:rPr lang="de-DE" dirty="0"/>
              <a:t>Tex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734738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 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45866" y="536511"/>
            <a:ext cx="8064500" cy="15081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329361" y="479718"/>
            <a:ext cx="2119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545866" y="895350"/>
            <a:ext cx="8064000" cy="370363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70798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8">
          <p15:clr>
            <a:srgbClr val="FBAE40"/>
          </p15:clr>
        </p15:guide>
        <p15:guide id="2" orient="horz" pos="56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Tarif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897296" y="1225576"/>
            <a:ext cx="5691188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cxnSp>
        <p:nvCxnSpPr>
          <p:cNvPr id="7" name="Gerader Verbinder 6"/>
          <p:cNvCxnSpPr/>
          <p:nvPr userDrawn="1"/>
        </p:nvCxnSpPr>
        <p:spPr>
          <a:xfrm flipH="1">
            <a:off x="873457" y="-191069"/>
            <a:ext cx="2367886" cy="55751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7539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8">
          <p15:clr>
            <a:srgbClr val="FBAE40"/>
          </p15:clr>
        </p15:guide>
        <p15:guide id="2" orient="horz" pos="8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1CC74-7277-408E-A1B6-10536502E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8E39A6-4146-45B5-935E-BF4F490A18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00613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1"/>
          </p:nvPr>
        </p:nvSpPr>
        <p:spPr>
          <a:xfrm>
            <a:off x="-6310" y="-17928"/>
            <a:ext cx="6494974" cy="5180947"/>
          </a:xfrm>
          <a:custGeom>
            <a:avLst/>
            <a:gdLst>
              <a:gd name="connsiteX0" fmla="*/ 0 w 6482687"/>
              <a:gd name="connsiteY0" fmla="*/ 5145089 h 5145089"/>
              <a:gd name="connsiteX1" fmla="*/ 1286272 w 6482687"/>
              <a:gd name="connsiteY1" fmla="*/ 0 h 5145089"/>
              <a:gd name="connsiteX2" fmla="*/ 6482687 w 6482687"/>
              <a:gd name="connsiteY2" fmla="*/ 0 h 5145089"/>
              <a:gd name="connsiteX3" fmla="*/ 5196415 w 6482687"/>
              <a:gd name="connsiteY3" fmla="*/ 5145089 h 5145089"/>
              <a:gd name="connsiteX4" fmla="*/ 0 w 6482687"/>
              <a:gd name="connsiteY4" fmla="*/ 5145089 h 5145089"/>
              <a:gd name="connsiteX0" fmla="*/ 0 w 6482687"/>
              <a:gd name="connsiteY0" fmla="*/ 5145089 h 5163018"/>
              <a:gd name="connsiteX1" fmla="*/ 1286272 w 6482687"/>
              <a:gd name="connsiteY1" fmla="*/ 0 h 5163018"/>
              <a:gd name="connsiteX2" fmla="*/ 6482687 w 6482687"/>
              <a:gd name="connsiteY2" fmla="*/ 0 h 5163018"/>
              <a:gd name="connsiteX3" fmla="*/ 4299945 w 6482687"/>
              <a:gd name="connsiteY3" fmla="*/ 5163018 h 5163018"/>
              <a:gd name="connsiteX4" fmla="*/ 0 w 6482687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4645 w 6487332"/>
              <a:gd name="connsiteY0" fmla="*/ 5145089 h 5163018"/>
              <a:gd name="connsiteX1" fmla="*/ 0 w 6487332"/>
              <a:gd name="connsiteY1" fmla="*/ 5976 h 5163018"/>
              <a:gd name="connsiteX2" fmla="*/ 6487332 w 6487332"/>
              <a:gd name="connsiteY2" fmla="*/ 0 h 5163018"/>
              <a:gd name="connsiteX3" fmla="*/ 4304590 w 6487332"/>
              <a:gd name="connsiteY3" fmla="*/ 5163018 h 5163018"/>
              <a:gd name="connsiteX4" fmla="*/ 4645 w 6487332"/>
              <a:gd name="connsiteY4" fmla="*/ 5145089 h 5163018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6255 w 6488997"/>
              <a:gd name="connsiteY3" fmla="*/ 5163018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88997"/>
              <a:gd name="connsiteY0" fmla="*/ 5174971 h 5174971"/>
              <a:gd name="connsiteX1" fmla="*/ 1665 w 6488997"/>
              <a:gd name="connsiteY1" fmla="*/ 5976 h 5174971"/>
              <a:gd name="connsiteX2" fmla="*/ 6488997 w 6488997"/>
              <a:gd name="connsiteY2" fmla="*/ 0 h 5174971"/>
              <a:gd name="connsiteX3" fmla="*/ 4300279 w 6488997"/>
              <a:gd name="connsiteY3" fmla="*/ 5174971 h 5174971"/>
              <a:gd name="connsiteX4" fmla="*/ 333 w 6488997"/>
              <a:gd name="connsiteY4" fmla="*/ 5174971 h 5174971"/>
              <a:gd name="connsiteX0" fmla="*/ 333 w 6494974"/>
              <a:gd name="connsiteY0" fmla="*/ 5180947 h 5180947"/>
              <a:gd name="connsiteX1" fmla="*/ 1665 w 6494974"/>
              <a:gd name="connsiteY1" fmla="*/ 11952 h 5180947"/>
              <a:gd name="connsiteX2" fmla="*/ 6494974 w 6494974"/>
              <a:gd name="connsiteY2" fmla="*/ 0 h 5180947"/>
              <a:gd name="connsiteX3" fmla="*/ 4300279 w 6494974"/>
              <a:gd name="connsiteY3" fmla="*/ 5180947 h 5180947"/>
              <a:gd name="connsiteX4" fmla="*/ 333 w 6494974"/>
              <a:gd name="connsiteY4" fmla="*/ 5180947 h 5180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4974" h="5180947">
                <a:moveTo>
                  <a:pt x="333" y="5180947"/>
                </a:moveTo>
                <a:cubicBezTo>
                  <a:pt x="-1215" y="3467909"/>
                  <a:pt x="3213" y="1724990"/>
                  <a:pt x="1665" y="11952"/>
                </a:cubicBezTo>
                <a:lnTo>
                  <a:pt x="6494974" y="0"/>
                </a:lnTo>
                <a:lnTo>
                  <a:pt x="4300279" y="5180947"/>
                </a:lnTo>
                <a:lnTo>
                  <a:pt x="333" y="518094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35812" y="2434664"/>
            <a:ext cx="2964050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635812" y="3221050"/>
            <a:ext cx="2964049" cy="1377937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10619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6">
          <p15:clr>
            <a:srgbClr val="FBAE40"/>
          </p15:clr>
        </p15:guide>
        <p15:guide id="2" orient="horz" pos="158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45866" y="1422400"/>
            <a:ext cx="509270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5868988" y="1422400"/>
            <a:ext cx="2736850" cy="3178175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21824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49">
          <p15:clr>
            <a:srgbClr val="FBAE40"/>
          </p15:clr>
        </p15:guide>
        <p15:guide id="2" pos="3693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3516313" y="1422400"/>
            <a:ext cx="5089525" cy="3179763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</p:spPr>
        <p:txBody>
          <a:bodyPr/>
          <a:lstStyle/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545866" y="1422400"/>
            <a:ext cx="2736000" cy="3178800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61009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71">
          <p15:clr>
            <a:srgbClr val="FBAE40"/>
          </p15:clr>
        </p15:guide>
        <p15:guide id="2" pos="2215">
          <p15:clr>
            <a:srgbClr val="FBAE40"/>
          </p15:clr>
        </p15:guide>
        <p15:guide id="3" orient="horz" pos="89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stiegsseite mit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2"/>
          </p:nvPr>
        </p:nvSpPr>
        <p:spPr>
          <a:xfrm>
            <a:off x="2886501" y="0"/>
            <a:ext cx="6264115" cy="5151912"/>
          </a:xfrm>
          <a:custGeom>
            <a:avLst/>
            <a:gdLst>
              <a:gd name="connsiteX0" fmla="*/ 0 w 6260674"/>
              <a:gd name="connsiteY0" fmla="*/ 5145088 h 5145088"/>
              <a:gd name="connsiteX1" fmla="*/ 1286272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0674"/>
              <a:gd name="connsiteY0" fmla="*/ 5145088 h 5145088"/>
              <a:gd name="connsiteX1" fmla="*/ 2180200 w 6260674"/>
              <a:gd name="connsiteY1" fmla="*/ 0 h 5145088"/>
              <a:gd name="connsiteX2" fmla="*/ 6260674 w 6260674"/>
              <a:gd name="connsiteY2" fmla="*/ 0 h 5145088"/>
              <a:gd name="connsiteX3" fmla="*/ 4974402 w 6260674"/>
              <a:gd name="connsiteY3" fmla="*/ 5145088 h 5145088"/>
              <a:gd name="connsiteX4" fmla="*/ 0 w 6260674"/>
              <a:gd name="connsiteY4" fmla="*/ 5145088 h 5145088"/>
              <a:gd name="connsiteX0" fmla="*/ 0 w 6264115"/>
              <a:gd name="connsiteY0" fmla="*/ 5145088 h 5151912"/>
              <a:gd name="connsiteX1" fmla="*/ 2180200 w 6264115"/>
              <a:gd name="connsiteY1" fmla="*/ 0 h 5151912"/>
              <a:gd name="connsiteX2" fmla="*/ 6260674 w 6264115"/>
              <a:gd name="connsiteY2" fmla="*/ 0 h 5151912"/>
              <a:gd name="connsiteX3" fmla="*/ 6264115 w 6264115"/>
              <a:gd name="connsiteY3" fmla="*/ 5151912 h 5151912"/>
              <a:gd name="connsiteX4" fmla="*/ 0 w 6264115"/>
              <a:gd name="connsiteY4" fmla="*/ 5145088 h 515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64115" h="5151912">
                <a:moveTo>
                  <a:pt x="0" y="5145088"/>
                </a:moveTo>
                <a:lnTo>
                  <a:pt x="2180200" y="0"/>
                </a:lnTo>
                <a:lnTo>
                  <a:pt x="6260674" y="0"/>
                </a:lnTo>
                <a:lnTo>
                  <a:pt x="6264115" y="5151912"/>
                </a:lnTo>
                <a:lnTo>
                  <a:pt x="0" y="514508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545866" y="1422400"/>
            <a:ext cx="2652712" cy="3177418"/>
          </a:xfrm>
        </p:spPr>
        <p:txBody>
          <a:bodyPr/>
          <a:lstStyle>
            <a:lvl1pPr>
              <a:spcAft>
                <a:spcPts val="850"/>
              </a:spcAft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59304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5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/>
          <p:cNvSpPr>
            <a:spLocks noGrp="1"/>
          </p:cNvSpPr>
          <p:nvPr>
            <p:ph type="pic" sz="quarter" idx="18"/>
          </p:nvPr>
        </p:nvSpPr>
        <p:spPr>
          <a:xfrm>
            <a:off x="4136643" y="-36438"/>
            <a:ext cx="5055406" cy="199820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994072 h 1994072"/>
              <a:gd name="connsiteX1" fmla="*/ 842568 w 4105148"/>
              <a:gd name="connsiteY1" fmla="*/ 0 h 1994072"/>
              <a:gd name="connsiteX2" fmla="*/ 4105148 w 4105148"/>
              <a:gd name="connsiteY2" fmla="*/ 382494 h 1994072"/>
              <a:gd name="connsiteX3" fmla="*/ 3426473 w 4105148"/>
              <a:gd name="connsiteY3" fmla="*/ 1992233 h 1994072"/>
              <a:gd name="connsiteX4" fmla="*/ 0 w 4105148"/>
              <a:gd name="connsiteY4" fmla="*/ 1994072 h 1994072"/>
              <a:gd name="connsiteX0" fmla="*/ 0 w 5031501"/>
              <a:gd name="connsiteY0" fmla="*/ 2000048 h 2000048"/>
              <a:gd name="connsiteX1" fmla="*/ 842568 w 5031501"/>
              <a:gd name="connsiteY1" fmla="*/ 5976 h 2000048"/>
              <a:gd name="connsiteX2" fmla="*/ 5031501 w 5031501"/>
              <a:gd name="connsiteY2" fmla="*/ 0 h 2000048"/>
              <a:gd name="connsiteX3" fmla="*/ 3426473 w 5031501"/>
              <a:gd name="connsiteY3" fmla="*/ 1998209 h 2000048"/>
              <a:gd name="connsiteX4" fmla="*/ 0 w 5031501"/>
              <a:gd name="connsiteY4" fmla="*/ 2000048 h 2000048"/>
              <a:gd name="connsiteX0" fmla="*/ 0 w 5115859"/>
              <a:gd name="connsiteY0" fmla="*/ 2000048 h 2004185"/>
              <a:gd name="connsiteX1" fmla="*/ 842568 w 5115859"/>
              <a:gd name="connsiteY1" fmla="*/ 5976 h 2004185"/>
              <a:gd name="connsiteX2" fmla="*/ 5031501 w 5115859"/>
              <a:gd name="connsiteY2" fmla="*/ 0 h 2004185"/>
              <a:gd name="connsiteX3" fmla="*/ 5052073 w 5115859"/>
              <a:gd name="connsiteY3" fmla="*/ 2004185 h 2004185"/>
              <a:gd name="connsiteX4" fmla="*/ 0 w 5115859"/>
              <a:gd name="connsiteY4" fmla="*/ 2000048 h 2004185"/>
              <a:gd name="connsiteX0" fmla="*/ 0 w 5147620"/>
              <a:gd name="connsiteY0" fmla="*/ 2000048 h 2004185"/>
              <a:gd name="connsiteX1" fmla="*/ 842568 w 5147620"/>
              <a:gd name="connsiteY1" fmla="*/ 5976 h 2004185"/>
              <a:gd name="connsiteX2" fmla="*/ 5031501 w 5147620"/>
              <a:gd name="connsiteY2" fmla="*/ 0 h 2004185"/>
              <a:gd name="connsiteX3" fmla="*/ 5052073 w 5147620"/>
              <a:gd name="connsiteY3" fmla="*/ 2004185 h 2004185"/>
              <a:gd name="connsiteX4" fmla="*/ 0 w 5147620"/>
              <a:gd name="connsiteY4" fmla="*/ 2000048 h 2004185"/>
              <a:gd name="connsiteX0" fmla="*/ 0 w 5158413"/>
              <a:gd name="connsiteY0" fmla="*/ 1994072 h 1998209"/>
              <a:gd name="connsiteX1" fmla="*/ 842568 w 5158413"/>
              <a:gd name="connsiteY1" fmla="*/ 0 h 1998209"/>
              <a:gd name="connsiteX2" fmla="*/ 5073336 w 5158413"/>
              <a:gd name="connsiteY2" fmla="*/ 0 h 1998209"/>
              <a:gd name="connsiteX3" fmla="*/ 5052073 w 5158413"/>
              <a:gd name="connsiteY3" fmla="*/ 1998209 h 1998209"/>
              <a:gd name="connsiteX4" fmla="*/ 0 w 5158413"/>
              <a:gd name="connsiteY4" fmla="*/ 1994072 h 1998209"/>
              <a:gd name="connsiteX0" fmla="*/ 0 w 5073336"/>
              <a:gd name="connsiteY0" fmla="*/ 1994072 h 1998209"/>
              <a:gd name="connsiteX1" fmla="*/ 842568 w 5073336"/>
              <a:gd name="connsiteY1" fmla="*/ 0 h 1998209"/>
              <a:gd name="connsiteX2" fmla="*/ 5073336 w 5073336"/>
              <a:gd name="connsiteY2" fmla="*/ 0 h 1998209"/>
              <a:gd name="connsiteX3" fmla="*/ 5052073 w 5073336"/>
              <a:gd name="connsiteY3" fmla="*/ 1998209 h 1998209"/>
              <a:gd name="connsiteX4" fmla="*/ 0 w 5073336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67359"/>
              <a:gd name="connsiteY0" fmla="*/ 1994072 h 1998209"/>
              <a:gd name="connsiteX1" fmla="*/ 842568 w 5067359"/>
              <a:gd name="connsiteY1" fmla="*/ 0 h 1998209"/>
              <a:gd name="connsiteX2" fmla="*/ 5067359 w 5067359"/>
              <a:gd name="connsiteY2" fmla="*/ 0 h 1998209"/>
              <a:gd name="connsiteX3" fmla="*/ 5052073 w 5067359"/>
              <a:gd name="connsiteY3" fmla="*/ 1998209 h 1998209"/>
              <a:gd name="connsiteX4" fmla="*/ 0 w 5067359"/>
              <a:gd name="connsiteY4" fmla="*/ 1994072 h 1998209"/>
              <a:gd name="connsiteX0" fmla="*/ 0 w 5055406"/>
              <a:gd name="connsiteY0" fmla="*/ 1994072 h 1998209"/>
              <a:gd name="connsiteX1" fmla="*/ 842568 w 5055406"/>
              <a:gd name="connsiteY1" fmla="*/ 0 h 1998209"/>
              <a:gd name="connsiteX2" fmla="*/ 5055406 w 5055406"/>
              <a:gd name="connsiteY2" fmla="*/ 5977 h 1998209"/>
              <a:gd name="connsiteX3" fmla="*/ 5052073 w 5055406"/>
              <a:gd name="connsiteY3" fmla="*/ 1998209 h 1998209"/>
              <a:gd name="connsiteX4" fmla="*/ 0 w 5055406"/>
              <a:gd name="connsiteY4" fmla="*/ 1994072 h 1998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5406" h="1998209">
                <a:moveTo>
                  <a:pt x="0" y="1994072"/>
                </a:moveTo>
                <a:cubicBezTo>
                  <a:pt x="673157" y="387475"/>
                  <a:pt x="849349" y="536"/>
                  <a:pt x="842568" y="0"/>
                </a:cubicBezTo>
                <a:lnTo>
                  <a:pt x="5055406" y="5977"/>
                </a:lnTo>
                <a:cubicBezTo>
                  <a:pt x="5052916" y="565466"/>
                  <a:pt x="5058470" y="1448374"/>
                  <a:pt x="5052073" y="1998209"/>
                </a:cubicBezTo>
                <a:lnTo>
                  <a:pt x="0" y="199407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3434408" y="1998210"/>
            <a:ext cx="4105148" cy="161157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05148" h="1611578">
                <a:moveTo>
                  <a:pt x="0" y="1611578"/>
                </a:moveTo>
                <a:cubicBezTo>
                  <a:pt x="673157" y="4981"/>
                  <a:pt x="682008" y="536"/>
                  <a:pt x="675227" y="0"/>
                </a:cubicBezTo>
                <a:lnTo>
                  <a:pt x="4105148" y="0"/>
                </a:lnTo>
                <a:cubicBezTo>
                  <a:pt x="3881529" y="553512"/>
                  <a:pt x="3654000" y="1071857"/>
                  <a:pt x="3426473" y="1609739"/>
                </a:cubicBezTo>
                <a:lnTo>
                  <a:pt x="0" y="161157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68979" y="3650770"/>
            <a:ext cx="4071101" cy="1534149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71101" h="1534149">
                <a:moveTo>
                  <a:pt x="0" y="1534149"/>
                </a:moveTo>
                <a:cubicBezTo>
                  <a:pt x="673157" y="-72448"/>
                  <a:pt x="647961" y="928"/>
                  <a:pt x="641180" y="392"/>
                </a:cubicBezTo>
                <a:lnTo>
                  <a:pt x="4071101" y="392"/>
                </a:lnTo>
                <a:cubicBezTo>
                  <a:pt x="3847482" y="553904"/>
                  <a:pt x="3654000" y="994428"/>
                  <a:pt x="3426473" y="1532310"/>
                </a:cubicBezTo>
                <a:lnTo>
                  <a:pt x="0" y="1534149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6252385" y="1998210"/>
            <a:ext cx="2904166" cy="3159758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4166" h="3159758">
                <a:moveTo>
                  <a:pt x="0" y="3153318"/>
                </a:moveTo>
                <a:lnTo>
                  <a:pt x="1334576" y="0"/>
                </a:lnTo>
                <a:lnTo>
                  <a:pt x="2903350" y="1"/>
                </a:lnTo>
                <a:lnTo>
                  <a:pt x="2904166" y="3159758"/>
                </a:lnTo>
                <a:lnTo>
                  <a:pt x="0" y="3153318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9"/>
          </p:nvPr>
        </p:nvSpPr>
        <p:spPr>
          <a:xfrm>
            <a:off x="8419364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28598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ressionen 4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5541815" y="-6438"/>
            <a:ext cx="3618947" cy="5177284"/>
          </a:xfrm>
          <a:custGeom>
            <a:avLst/>
            <a:gdLst>
              <a:gd name="connsiteX0" fmla="*/ 0 w 2881603"/>
              <a:gd name="connsiteY0" fmla="*/ 3146878 h 3146878"/>
              <a:gd name="connsiteX1" fmla="*/ 720401 w 2881603"/>
              <a:gd name="connsiteY1" fmla="*/ 0 h 3146878"/>
              <a:gd name="connsiteX2" fmla="*/ 2881603 w 2881603"/>
              <a:gd name="connsiteY2" fmla="*/ 0 h 3146878"/>
              <a:gd name="connsiteX3" fmla="*/ 2161202 w 2881603"/>
              <a:gd name="connsiteY3" fmla="*/ 3146878 h 3146878"/>
              <a:gd name="connsiteX4" fmla="*/ 0 w 2881603"/>
              <a:gd name="connsiteY4" fmla="*/ 3146878 h 3146878"/>
              <a:gd name="connsiteX0" fmla="*/ 0 w 2901737"/>
              <a:gd name="connsiteY0" fmla="*/ 3146878 h 3159757"/>
              <a:gd name="connsiteX1" fmla="*/ 720401 w 2901737"/>
              <a:gd name="connsiteY1" fmla="*/ 0 h 3159757"/>
              <a:gd name="connsiteX2" fmla="*/ 2881603 w 2901737"/>
              <a:gd name="connsiteY2" fmla="*/ 0 h 3159757"/>
              <a:gd name="connsiteX3" fmla="*/ 2901737 w 2901737"/>
              <a:gd name="connsiteY3" fmla="*/ 3159757 h 3159757"/>
              <a:gd name="connsiteX4" fmla="*/ 0 w 2901737"/>
              <a:gd name="connsiteY4" fmla="*/ 3146878 h 3159757"/>
              <a:gd name="connsiteX0" fmla="*/ 0 w 2850221"/>
              <a:gd name="connsiteY0" fmla="*/ 3146878 h 3159757"/>
              <a:gd name="connsiteX1" fmla="*/ 668885 w 2850221"/>
              <a:gd name="connsiteY1" fmla="*/ 0 h 3159757"/>
              <a:gd name="connsiteX2" fmla="*/ 2830087 w 2850221"/>
              <a:gd name="connsiteY2" fmla="*/ 0 h 3159757"/>
              <a:gd name="connsiteX3" fmla="*/ 2850221 w 2850221"/>
              <a:gd name="connsiteY3" fmla="*/ 3159757 h 3159757"/>
              <a:gd name="connsiteX4" fmla="*/ 0 w 2850221"/>
              <a:gd name="connsiteY4" fmla="*/ 3146878 h 3159757"/>
              <a:gd name="connsiteX0" fmla="*/ 0 w 2863100"/>
              <a:gd name="connsiteY0" fmla="*/ 3166196 h 3166196"/>
              <a:gd name="connsiteX1" fmla="*/ 681764 w 2863100"/>
              <a:gd name="connsiteY1" fmla="*/ 0 h 3166196"/>
              <a:gd name="connsiteX2" fmla="*/ 2842966 w 2863100"/>
              <a:gd name="connsiteY2" fmla="*/ 0 h 3166196"/>
              <a:gd name="connsiteX3" fmla="*/ 2863100 w 2863100"/>
              <a:gd name="connsiteY3" fmla="*/ 3159757 h 3166196"/>
              <a:gd name="connsiteX4" fmla="*/ 0 w 2863100"/>
              <a:gd name="connsiteY4" fmla="*/ 3166196 h 3166196"/>
              <a:gd name="connsiteX0" fmla="*/ 0 w 2901736"/>
              <a:gd name="connsiteY0" fmla="*/ 3159757 h 3159757"/>
              <a:gd name="connsiteX1" fmla="*/ 720400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59757 h 3159757"/>
              <a:gd name="connsiteX1" fmla="*/ 101661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6 h 3166196"/>
              <a:gd name="connsiteX1" fmla="*/ 1145403 w 2901736"/>
              <a:gd name="connsiteY1" fmla="*/ 0 h 3166196"/>
              <a:gd name="connsiteX2" fmla="*/ 2881602 w 2901736"/>
              <a:gd name="connsiteY2" fmla="*/ 6439 h 3166196"/>
              <a:gd name="connsiteX3" fmla="*/ 2901736 w 2901736"/>
              <a:gd name="connsiteY3" fmla="*/ 3166196 h 3166196"/>
              <a:gd name="connsiteX4" fmla="*/ 0 w 2901736"/>
              <a:gd name="connsiteY4" fmla="*/ 3166196 h 3166196"/>
              <a:gd name="connsiteX0" fmla="*/ 0 w 2901736"/>
              <a:gd name="connsiteY0" fmla="*/ 3159757 h 3159757"/>
              <a:gd name="connsiteX1" fmla="*/ 1248434 w 2901736"/>
              <a:gd name="connsiteY1" fmla="*/ 0 h 3159757"/>
              <a:gd name="connsiteX2" fmla="*/ 2881602 w 2901736"/>
              <a:gd name="connsiteY2" fmla="*/ 0 h 3159757"/>
              <a:gd name="connsiteX3" fmla="*/ 2901736 w 2901736"/>
              <a:gd name="connsiteY3" fmla="*/ 3159757 h 3159757"/>
              <a:gd name="connsiteX4" fmla="*/ 0 w 2901736"/>
              <a:gd name="connsiteY4" fmla="*/ 3159757 h 3159757"/>
              <a:gd name="connsiteX0" fmla="*/ 0 w 2901736"/>
              <a:gd name="connsiteY0" fmla="*/ 3166197 h 3166197"/>
              <a:gd name="connsiteX1" fmla="*/ 1396541 w 2901736"/>
              <a:gd name="connsiteY1" fmla="*/ 0 h 3166197"/>
              <a:gd name="connsiteX2" fmla="*/ 2881602 w 2901736"/>
              <a:gd name="connsiteY2" fmla="*/ 6440 h 3166197"/>
              <a:gd name="connsiteX3" fmla="*/ 2901736 w 2901736"/>
              <a:gd name="connsiteY3" fmla="*/ 3166197 h 3166197"/>
              <a:gd name="connsiteX4" fmla="*/ 0 w 2901736"/>
              <a:gd name="connsiteY4" fmla="*/ 3166197 h 3166197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1736"/>
              <a:gd name="connsiteY0" fmla="*/ 3159758 h 3159758"/>
              <a:gd name="connsiteX1" fmla="*/ 1332146 w 2901736"/>
              <a:gd name="connsiteY1" fmla="*/ 0 h 3159758"/>
              <a:gd name="connsiteX2" fmla="*/ 2881602 w 2901736"/>
              <a:gd name="connsiteY2" fmla="*/ 1 h 3159758"/>
              <a:gd name="connsiteX3" fmla="*/ 2901736 w 2901736"/>
              <a:gd name="connsiteY3" fmla="*/ 3159758 h 3159758"/>
              <a:gd name="connsiteX4" fmla="*/ 0 w 2901736"/>
              <a:gd name="connsiteY4" fmla="*/ 315975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888042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08176"/>
              <a:gd name="connsiteY0" fmla="*/ 3153318 h 3159758"/>
              <a:gd name="connsiteX1" fmla="*/ 1338586 w 2908176"/>
              <a:gd name="connsiteY1" fmla="*/ 0 h 3159758"/>
              <a:gd name="connsiteX2" fmla="*/ 2907360 w 2908176"/>
              <a:gd name="connsiteY2" fmla="*/ 1 h 3159758"/>
              <a:gd name="connsiteX3" fmla="*/ 2908176 w 2908176"/>
              <a:gd name="connsiteY3" fmla="*/ 3159758 h 3159758"/>
              <a:gd name="connsiteX4" fmla="*/ 0 w 2908176"/>
              <a:gd name="connsiteY4" fmla="*/ 3153318 h 3159758"/>
              <a:gd name="connsiteX0" fmla="*/ 0 w 2916197"/>
              <a:gd name="connsiteY0" fmla="*/ 3153318 h 3159758"/>
              <a:gd name="connsiteX1" fmla="*/ 1346607 w 2916197"/>
              <a:gd name="connsiteY1" fmla="*/ 0 h 3159758"/>
              <a:gd name="connsiteX2" fmla="*/ 2915381 w 2916197"/>
              <a:gd name="connsiteY2" fmla="*/ 1 h 3159758"/>
              <a:gd name="connsiteX3" fmla="*/ 2916197 w 2916197"/>
              <a:gd name="connsiteY3" fmla="*/ 3159758 h 3159758"/>
              <a:gd name="connsiteX4" fmla="*/ 0 w 291619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12187"/>
              <a:gd name="connsiteY0" fmla="*/ 3153318 h 3159758"/>
              <a:gd name="connsiteX1" fmla="*/ 1342597 w 2912187"/>
              <a:gd name="connsiteY1" fmla="*/ 0 h 3159758"/>
              <a:gd name="connsiteX2" fmla="*/ 2911371 w 2912187"/>
              <a:gd name="connsiteY2" fmla="*/ 1 h 3159758"/>
              <a:gd name="connsiteX3" fmla="*/ 2912187 w 2912187"/>
              <a:gd name="connsiteY3" fmla="*/ 3159758 h 3159758"/>
              <a:gd name="connsiteX4" fmla="*/ 0 w 2912187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4166"/>
              <a:gd name="connsiteY0" fmla="*/ 3153318 h 3159758"/>
              <a:gd name="connsiteX1" fmla="*/ 1334576 w 2904166"/>
              <a:gd name="connsiteY1" fmla="*/ 0 h 3159758"/>
              <a:gd name="connsiteX2" fmla="*/ 2903350 w 2904166"/>
              <a:gd name="connsiteY2" fmla="*/ 1 h 3159758"/>
              <a:gd name="connsiteX3" fmla="*/ 2904166 w 2904166"/>
              <a:gd name="connsiteY3" fmla="*/ 3159758 h 3159758"/>
              <a:gd name="connsiteX4" fmla="*/ 0 w 2904166"/>
              <a:gd name="connsiteY4" fmla="*/ 3153318 h 3159758"/>
              <a:gd name="connsiteX0" fmla="*/ 0 w 2903350"/>
              <a:gd name="connsiteY0" fmla="*/ 3153318 h 3155813"/>
              <a:gd name="connsiteX1" fmla="*/ 1334576 w 2903350"/>
              <a:gd name="connsiteY1" fmla="*/ 0 h 3155813"/>
              <a:gd name="connsiteX2" fmla="*/ 2903350 w 2903350"/>
              <a:gd name="connsiteY2" fmla="*/ 1 h 3155813"/>
              <a:gd name="connsiteX3" fmla="*/ 1440652 w 2903350"/>
              <a:gd name="connsiteY3" fmla="*/ 3155813 h 3155813"/>
              <a:gd name="connsiteX4" fmla="*/ 0 w 2903350"/>
              <a:gd name="connsiteY4" fmla="*/ 3153318 h 3155813"/>
              <a:gd name="connsiteX0" fmla="*/ 0 w 2903350"/>
              <a:gd name="connsiteY0" fmla="*/ 3153318 h 3167647"/>
              <a:gd name="connsiteX1" fmla="*/ 1334576 w 2903350"/>
              <a:gd name="connsiteY1" fmla="*/ 0 h 3167647"/>
              <a:gd name="connsiteX2" fmla="*/ 2903350 w 2903350"/>
              <a:gd name="connsiteY2" fmla="*/ 1 h 3167647"/>
              <a:gd name="connsiteX3" fmla="*/ 2205940 w 2903350"/>
              <a:gd name="connsiteY3" fmla="*/ 3167647 h 3167647"/>
              <a:gd name="connsiteX4" fmla="*/ 0 w 2903350"/>
              <a:gd name="connsiteY4" fmla="*/ 3153318 h 3167647"/>
              <a:gd name="connsiteX0" fmla="*/ 0 w 2903350"/>
              <a:gd name="connsiteY0" fmla="*/ 3153318 h 3159757"/>
              <a:gd name="connsiteX1" fmla="*/ 1334576 w 2903350"/>
              <a:gd name="connsiteY1" fmla="*/ 0 h 3159757"/>
              <a:gd name="connsiteX2" fmla="*/ 2903350 w 2903350"/>
              <a:gd name="connsiteY2" fmla="*/ 1 h 3159757"/>
              <a:gd name="connsiteX3" fmla="*/ 2205940 w 2903350"/>
              <a:gd name="connsiteY3" fmla="*/ 3159757 h 3159757"/>
              <a:gd name="connsiteX4" fmla="*/ 0 w 2903350"/>
              <a:gd name="connsiteY4" fmla="*/ 3153318 h 3159757"/>
              <a:gd name="connsiteX0" fmla="*/ 0 w 2512817"/>
              <a:gd name="connsiteY0" fmla="*/ 3153318 h 3159757"/>
              <a:gd name="connsiteX1" fmla="*/ 1334576 w 2512817"/>
              <a:gd name="connsiteY1" fmla="*/ 0 h 3159757"/>
              <a:gd name="connsiteX2" fmla="*/ 2512817 w 2512817"/>
              <a:gd name="connsiteY2" fmla="*/ 7890 h 3159757"/>
              <a:gd name="connsiteX3" fmla="*/ 2205940 w 2512817"/>
              <a:gd name="connsiteY3" fmla="*/ 3159757 h 3159757"/>
              <a:gd name="connsiteX4" fmla="*/ 0 w 2512817"/>
              <a:gd name="connsiteY4" fmla="*/ 3153318 h 3159757"/>
              <a:gd name="connsiteX0" fmla="*/ 0 w 2248517"/>
              <a:gd name="connsiteY0" fmla="*/ 3153318 h 3159757"/>
              <a:gd name="connsiteX1" fmla="*/ 1334576 w 2248517"/>
              <a:gd name="connsiteY1" fmla="*/ 0 h 3159757"/>
              <a:gd name="connsiteX2" fmla="*/ 2248517 w 2248517"/>
              <a:gd name="connsiteY2" fmla="*/ 7890 h 3159757"/>
              <a:gd name="connsiteX3" fmla="*/ 2205940 w 2248517"/>
              <a:gd name="connsiteY3" fmla="*/ 3159757 h 3159757"/>
              <a:gd name="connsiteX4" fmla="*/ 0 w 2248517"/>
              <a:gd name="connsiteY4" fmla="*/ 3153318 h 3159757"/>
              <a:gd name="connsiteX0" fmla="*/ 0 w 2240627"/>
              <a:gd name="connsiteY0" fmla="*/ 3165152 h 3171591"/>
              <a:gd name="connsiteX1" fmla="*/ 1334576 w 2240627"/>
              <a:gd name="connsiteY1" fmla="*/ 11834 h 3171591"/>
              <a:gd name="connsiteX2" fmla="*/ 2240627 w 2240627"/>
              <a:gd name="connsiteY2" fmla="*/ 0 h 3171591"/>
              <a:gd name="connsiteX3" fmla="*/ 2205940 w 2240627"/>
              <a:gd name="connsiteY3" fmla="*/ 3171591 h 3171591"/>
              <a:gd name="connsiteX4" fmla="*/ 0 w 2240627"/>
              <a:gd name="connsiteY4" fmla="*/ 3165152 h 3171591"/>
              <a:gd name="connsiteX0" fmla="*/ 0 w 2236682"/>
              <a:gd name="connsiteY0" fmla="*/ 3153318 h 3159757"/>
              <a:gd name="connsiteX1" fmla="*/ 1334576 w 2236682"/>
              <a:gd name="connsiteY1" fmla="*/ 0 h 3159757"/>
              <a:gd name="connsiteX2" fmla="*/ 2236682 w 2236682"/>
              <a:gd name="connsiteY2" fmla="*/ 0 h 3159757"/>
              <a:gd name="connsiteX3" fmla="*/ 2205940 w 2236682"/>
              <a:gd name="connsiteY3" fmla="*/ 3159757 h 3159757"/>
              <a:gd name="connsiteX4" fmla="*/ 0 w 2236682"/>
              <a:gd name="connsiteY4" fmla="*/ 3153318 h 3159757"/>
              <a:gd name="connsiteX0" fmla="*/ 0 w 2209069"/>
              <a:gd name="connsiteY0" fmla="*/ 3153318 h 3159757"/>
              <a:gd name="connsiteX1" fmla="*/ 1334576 w 2209069"/>
              <a:gd name="connsiteY1" fmla="*/ 0 h 3159757"/>
              <a:gd name="connsiteX2" fmla="*/ 2209069 w 2209069"/>
              <a:gd name="connsiteY2" fmla="*/ 0 h 3159757"/>
              <a:gd name="connsiteX3" fmla="*/ 2205940 w 2209069"/>
              <a:gd name="connsiteY3" fmla="*/ 3159757 h 3159757"/>
              <a:gd name="connsiteX4" fmla="*/ 0 w 2209069"/>
              <a:gd name="connsiteY4" fmla="*/ 3153318 h 3159757"/>
              <a:gd name="connsiteX0" fmla="*/ 0 w 2209069"/>
              <a:gd name="connsiteY0" fmla="*/ 3153318 h 3163702"/>
              <a:gd name="connsiteX1" fmla="*/ 1334576 w 2209069"/>
              <a:gd name="connsiteY1" fmla="*/ 0 h 3163702"/>
              <a:gd name="connsiteX2" fmla="*/ 2209069 w 2209069"/>
              <a:gd name="connsiteY2" fmla="*/ 0 h 3163702"/>
              <a:gd name="connsiteX3" fmla="*/ 2142823 w 2209069"/>
              <a:gd name="connsiteY3" fmla="*/ 3163702 h 3163702"/>
              <a:gd name="connsiteX4" fmla="*/ 0 w 2209069"/>
              <a:gd name="connsiteY4" fmla="*/ 3153318 h 3163702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209069 w 2209885"/>
              <a:gd name="connsiteY2" fmla="*/ 0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09885"/>
              <a:gd name="connsiteY0" fmla="*/ 3153318 h 3167647"/>
              <a:gd name="connsiteX1" fmla="*/ 1334576 w 2209885"/>
              <a:gd name="connsiteY1" fmla="*/ 0 h 3167647"/>
              <a:gd name="connsiteX2" fmla="*/ 2169621 w 2209885"/>
              <a:gd name="connsiteY2" fmla="*/ 3945 h 3167647"/>
              <a:gd name="connsiteX3" fmla="*/ 2209885 w 2209885"/>
              <a:gd name="connsiteY3" fmla="*/ 3167647 h 3167647"/>
              <a:gd name="connsiteX4" fmla="*/ 0 w 2209885"/>
              <a:gd name="connsiteY4" fmla="*/ 3153318 h 3167647"/>
              <a:gd name="connsiteX0" fmla="*/ 0 w 2216958"/>
              <a:gd name="connsiteY0" fmla="*/ 3157262 h 3171591"/>
              <a:gd name="connsiteX1" fmla="*/ 1334576 w 2216958"/>
              <a:gd name="connsiteY1" fmla="*/ 3944 h 3171591"/>
              <a:gd name="connsiteX2" fmla="*/ 2216958 w 2216958"/>
              <a:gd name="connsiteY2" fmla="*/ 0 h 3171591"/>
              <a:gd name="connsiteX3" fmla="*/ 2209885 w 2216958"/>
              <a:gd name="connsiteY3" fmla="*/ 3171591 h 3171591"/>
              <a:gd name="connsiteX4" fmla="*/ 0 w 2216958"/>
              <a:gd name="connsiteY4" fmla="*/ 3157262 h 3171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6958" h="3171591">
                <a:moveTo>
                  <a:pt x="0" y="3157262"/>
                </a:moveTo>
                <a:lnTo>
                  <a:pt x="1334576" y="3944"/>
                </a:lnTo>
                <a:lnTo>
                  <a:pt x="2216958" y="0"/>
                </a:lnTo>
                <a:cubicBezTo>
                  <a:pt x="2214600" y="1057197"/>
                  <a:pt x="2212243" y="2114394"/>
                  <a:pt x="2209885" y="3171591"/>
                </a:cubicBezTo>
                <a:lnTo>
                  <a:pt x="0" y="3157262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136543" y="-15134"/>
            <a:ext cx="3553896" cy="1970477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501314"/>
              <a:gd name="connsiteY0" fmla="*/ 1622139 h 1622139"/>
              <a:gd name="connsiteX1" fmla="*/ 675227 w 4501314"/>
              <a:gd name="connsiteY1" fmla="*/ 10561 h 1622139"/>
              <a:gd name="connsiteX2" fmla="*/ 4501314 w 4501314"/>
              <a:gd name="connsiteY2" fmla="*/ 0 h 1622139"/>
              <a:gd name="connsiteX3" fmla="*/ 3426473 w 4501314"/>
              <a:gd name="connsiteY3" fmla="*/ 1620300 h 1622139"/>
              <a:gd name="connsiteX4" fmla="*/ 0 w 4501314"/>
              <a:gd name="connsiteY4" fmla="*/ 1622139 h 1622139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876654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941398 w 4702741"/>
              <a:gd name="connsiteY1" fmla="*/ 6150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02741"/>
              <a:gd name="connsiteY0" fmla="*/ 1617728 h 1620300"/>
              <a:gd name="connsiteX1" fmla="*/ 1092467 w 4702741"/>
              <a:gd name="connsiteY1" fmla="*/ 10561 h 1620300"/>
              <a:gd name="connsiteX2" fmla="*/ 4702741 w 4702741"/>
              <a:gd name="connsiteY2" fmla="*/ 0 h 1620300"/>
              <a:gd name="connsiteX3" fmla="*/ 3627900 w 4702741"/>
              <a:gd name="connsiteY3" fmla="*/ 1620300 h 1620300"/>
              <a:gd name="connsiteX4" fmla="*/ 0 w 4702741"/>
              <a:gd name="connsiteY4" fmla="*/ 1617728 h 1620300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60292"/>
              <a:gd name="connsiteY0" fmla="*/ 1622139 h 1624711"/>
              <a:gd name="connsiteX1" fmla="*/ 1092467 w 4760292"/>
              <a:gd name="connsiteY1" fmla="*/ 14972 h 1624711"/>
              <a:gd name="connsiteX2" fmla="*/ 4760292 w 4760292"/>
              <a:gd name="connsiteY2" fmla="*/ 0 h 1624711"/>
              <a:gd name="connsiteX3" fmla="*/ 3627900 w 4760292"/>
              <a:gd name="connsiteY3" fmla="*/ 1624711 h 1624711"/>
              <a:gd name="connsiteX4" fmla="*/ 0 w 4760292"/>
              <a:gd name="connsiteY4" fmla="*/ 1622139 h 1624711"/>
              <a:gd name="connsiteX0" fmla="*/ 0 w 4745905"/>
              <a:gd name="connsiteY0" fmla="*/ 1622139 h 1624711"/>
              <a:gd name="connsiteX1" fmla="*/ 1092467 w 4745905"/>
              <a:gd name="connsiteY1" fmla="*/ 14972 h 1624711"/>
              <a:gd name="connsiteX2" fmla="*/ 4745905 w 4745905"/>
              <a:gd name="connsiteY2" fmla="*/ 0 h 1624711"/>
              <a:gd name="connsiteX3" fmla="*/ 3627900 w 4745905"/>
              <a:gd name="connsiteY3" fmla="*/ 1624711 h 1624711"/>
              <a:gd name="connsiteX4" fmla="*/ 0 w 4745905"/>
              <a:gd name="connsiteY4" fmla="*/ 1622139 h 1624711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  <a:gd name="connsiteX0" fmla="*/ 0 w 4753098"/>
              <a:gd name="connsiteY0" fmla="*/ 1613317 h 1615889"/>
              <a:gd name="connsiteX1" fmla="*/ 1092467 w 4753098"/>
              <a:gd name="connsiteY1" fmla="*/ 6150 h 1615889"/>
              <a:gd name="connsiteX2" fmla="*/ 4753098 w 4753098"/>
              <a:gd name="connsiteY2" fmla="*/ 0 h 1615889"/>
              <a:gd name="connsiteX3" fmla="*/ 3627900 w 4753098"/>
              <a:gd name="connsiteY3" fmla="*/ 1615889 h 1615889"/>
              <a:gd name="connsiteX4" fmla="*/ 0 w 4753098"/>
              <a:gd name="connsiteY4" fmla="*/ 1613317 h 1615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3098" h="1615889">
                <a:moveTo>
                  <a:pt x="0" y="1613317"/>
                </a:moveTo>
                <a:lnTo>
                  <a:pt x="1092467" y="6150"/>
                </a:lnTo>
                <a:lnTo>
                  <a:pt x="4753098" y="0"/>
                </a:lnTo>
                <a:cubicBezTo>
                  <a:pt x="4364023" y="562334"/>
                  <a:pt x="4071243" y="1007433"/>
                  <a:pt x="3627900" y="1615889"/>
                </a:cubicBezTo>
                <a:lnTo>
                  <a:pt x="0" y="1613317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6"/>
          </p:nvPr>
        </p:nvSpPr>
        <p:spPr>
          <a:xfrm>
            <a:off x="2774973" y="1996355"/>
            <a:ext cx="4054965" cy="3190138"/>
          </a:xfrm>
          <a:custGeom>
            <a:avLst/>
            <a:gdLst>
              <a:gd name="connsiteX0" fmla="*/ 0 w 4374777"/>
              <a:gd name="connsiteY0" fmla="*/ 1607670 h 1607670"/>
              <a:gd name="connsiteX1" fmla="*/ 401918 w 4374777"/>
              <a:gd name="connsiteY1" fmla="*/ 0 h 1607670"/>
              <a:gd name="connsiteX2" fmla="*/ 4374777 w 4374777"/>
              <a:gd name="connsiteY2" fmla="*/ 0 h 1607670"/>
              <a:gd name="connsiteX3" fmla="*/ 3972860 w 4374777"/>
              <a:gd name="connsiteY3" fmla="*/ 1607670 h 1607670"/>
              <a:gd name="connsiteX4" fmla="*/ 0 w 4374777"/>
              <a:gd name="connsiteY4" fmla="*/ 1607670 h 1607670"/>
              <a:gd name="connsiteX0" fmla="*/ 0 w 4488330"/>
              <a:gd name="connsiteY0" fmla="*/ 1607670 h 1607670"/>
              <a:gd name="connsiteX1" fmla="*/ 401918 w 4488330"/>
              <a:gd name="connsiteY1" fmla="*/ 0 h 1607670"/>
              <a:gd name="connsiteX2" fmla="*/ 4488330 w 4488330"/>
              <a:gd name="connsiteY2" fmla="*/ 0 h 1607670"/>
              <a:gd name="connsiteX3" fmla="*/ 3972860 w 4488330"/>
              <a:gd name="connsiteY3" fmla="*/ 1607670 h 1607670"/>
              <a:gd name="connsiteX4" fmla="*/ 0 w 4488330"/>
              <a:gd name="connsiteY4" fmla="*/ 1607670 h 1607670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29425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0 w 4488330"/>
              <a:gd name="connsiteY0" fmla="*/ 1607670 h 1613647"/>
              <a:gd name="connsiteX1" fmla="*/ 401918 w 4488330"/>
              <a:gd name="connsiteY1" fmla="*/ 0 h 1613647"/>
              <a:gd name="connsiteX2" fmla="*/ 4488330 w 4488330"/>
              <a:gd name="connsiteY2" fmla="*/ 0 h 1613647"/>
              <a:gd name="connsiteX3" fmla="*/ 3817472 w 4488330"/>
              <a:gd name="connsiteY3" fmla="*/ 1613647 h 1613647"/>
              <a:gd name="connsiteX4" fmla="*/ 0 w 4488330"/>
              <a:gd name="connsiteY4" fmla="*/ 1607670 h 1613647"/>
              <a:gd name="connsiteX0" fmla="*/ 16435 w 4086412"/>
              <a:gd name="connsiteY0" fmla="*/ 1607670 h 1613647"/>
              <a:gd name="connsiteX1" fmla="*/ 0 w 4086412"/>
              <a:gd name="connsiteY1" fmla="*/ 0 h 1613647"/>
              <a:gd name="connsiteX2" fmla="*/ 4086412 w 4086412"/>
              <a:gd name="connsiteY2" fmla="*/ 0 h 1613647"/>
              <a:gd name="connsiteX3" fmla="*/ 3415554 w 4086412"/>
              <a:gd name="connsiteY3" fmla="*/ 1613647 h 1613647"/>
              <a:gd name="connsiteX4" fmla="*/ 16435 w 4086412"/>
              <a:gd name="connsiteY4" fmla="*/ 1607670 h 1613647"/>
              <a:gd name="connsiteX0" fmla="*/ 0 w 4089516"/>
              <a:gd name="connsiteY0" fmla="*/ 1607670 h 1613647"/>
              <a:gd name="connsiteX1" fmla="*/ 3104 w 4089516"/>
              <a:gd name="connsiteY1" fmla="*/ 0 h 1613647"/>
              <a:gd name="connsiteX2" fmla="*/ 4089516 w 4089516"/>
              <a:gd name="connsiteY2" fmla="*/ 0 h 1613647"/>
              <a:gd name="connsiteX3" fmla="*/ 3418658 w 4089516"/>
              <a:gd name="connsiteY3" fmla="*/ 1613647 h 1613647"/>
              <a:gd name="connsiteX4" fmla="*/ 0 w 4089516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07670 h 1613647"/>
              <a:gd name="connsiteX1" fmla="*/ 3104 w 4101240"/>
              <a:gd name="connsiteY1" fmla="*/ 0 h 1613647"/>
              <a:gd name="connsiteX2" fmla="*/ 4101240 w 4101240"/>
              <a:gd name="connsiteY2" fmla="*/ 0 h 1613647"/>
              <a:gd name="connsiteX3" fmla="*/ 3418658 w 4101240"/>
              <a:gd name="connsiteY3" fmla="*/ 1613647 h 1613647"/>
              <a:gd name="connsiteX4" fmla="*/ 0 w 4101240"/>
              <a:gd name="connsiteY4" fmla="*/ 1607670 h 1613647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1240"/>
              <a:gd name="connsiteY0" fmla="*/ 1611578 h 1617555"/>
              <a:gd name="connsiteX1" fmla="*/ 675227 w 4101240"/>
              <a:gd name="connsiteY1" fmla="*/ 0 h 1617555"/>
              <a:gd name="connsiteX2" fmla="*/ 4101240 w 4101240"/>
              <a:gd name="connsiteY2" fmla="*/ 3908 h 1617555"/>
              <a:gd name="connsiteX3" fmla="*/ 3418658 w 4101240"/>
              <a:gd name="connsiteY3" fmla="*/ 1617555 h 1617555"/>
              <a:gd name="connsiteX4" fmla="*/ 0 w 4101240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7555"/>
              <a:gd name="connsiteX1" fmla="*/ 675227 w 4105148"/>
              <a:gd name="connsiteY1" fmla="*/ 0 h 1617555"/>
              <a:gd name="connsiteX2" fmla="*/ 4105148 w 4105148"/>
              <a:gd name="connsiteY2" fmla="*/ 0 h 1617555"/>
              <a:gd name="connsiteX3" fmla="*/ 3418658 w 4105148"/>
              <a:gd name="connsiteY3" fmla="*/ 1617555 h 1617555"/>
              <a:gd name="connsiteX4" fmla="*/ 0 w 4105148"/>
              <a:gd name="connsiteY4" fmla="*/ 1611578 h 1617555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26473 w 4105148"/>
              <a:gd name="connsiteY3" fmla="*/ 1609739 h 1611578"/>
              <a:gd name="connsiteX4" fmla="*/ 0 w 4105148"/>
              <a:gd name="connsiteY4" fmla="*/ 1611578 h 1611578"/>
              <a:gd name="connsiteX0" fmla="*/ 0 w 4105148"/>
              <a:gd name="connsiteY0" fmla="*/ 1611578 h 1611578"/>
              <a:gd name="connsiteX1" fmla="*/ 675227 w 4105148"/>
              <a:gd name="connsiteY1" fmla="*/ 0 h 1611578"/>
              <a:gd name="connsiteX2" fmla="*/ 4105148 w 4105148"/>
              <a:gd name="connsiteY2" fmla="*/ 0 h 1611578"/>
              <a:gd name="connsiteX3" fmla="*/ 3460520 w 4105148"/>
              <a:gd name="connsiteY3" fmla="*/ 1531918 h 1611578"/>
              <a:gd name="connsiteX4" fmla="*/ 0 w 4105148"/>
              <a:gd name="connsiteY4" fmla="*/ 1611578 h 1611578"/>
              <a:gd name="connsiteX0" fmla="*/ 0 w 4080829"/>
              <a:gd name="connsiteY0" fmla="*/ 1548521 h 1548521"/>
              <a:gd name="connsiteX1" fmla="*/ 650908 w 4080829"/>
              <a:gd name="connsiteY1" fmla="*/ 173 h 1548521"/>
              <a:gd name="connsiteX2" fmla="*/ 4080829 w 4080829"/>
              <a:gd name="connsiteY2" fmla="*/ 173 h 1548521"/>
              <a:gd name="connsiteX3" fmla="*/ 3436201 w 4080829"/>
              <a:gd name="connsiteY3" fmla="*/ 1532091 h 1548521"/>
              <a:gd name="connsiteX4" fmla="*/ 0 w 4080829"/>
              <a:gd name="connsiteY4" fmla="*/ 1548521 h 1548521"/>
              <a:gd name="connsiteX0" fmla="*/ 0 w 4071101"/>
              <a:gd name="connsiteY0" fmla="*/ 1534149 h 1534149"/>
              <a:gd name="connsiteX1" fmla="*/ 641180 w 4071101"/>
              <a:gd name="connsiteY1" fmla="*/ 392 h 1534149"/>
              <a:gd name="connsiteX2" fmla="*/ 4071101 w 4071101"/>
              <a:gd name="connsiteY2" fmla="*/ 392 h 1534149"/>
              <a:gd name="connsiteX3" fmla="*/ 3426473 w 4071101"/>
              <a:gd name="connsiteY3" fmla="*/ 1532310 h 1534149"/>
              <a:gd name="connsiteX4" fmla="*/ 0 w 4071101"/>
              <a:gd name="connsiteY4" fmla="*/ 1534149 h 1534149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7025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4149 h 1540111"/>
              <a:gd name="connsiteX1" fmla="*/ 641180 w 4071101"/>
              <a:gd name="connsiteY1" fmla="*/ 392 h 1540111"/>
              <a:gd name="connsiteX2" fmla="*/ 4071101 w 4071101"/>
              <a:gd name="connsiteY2" fmla="*/ 392 h 1540111"/>
              <a:gd name="connsiteX3" fmla="*/ 2721847 w 4071101"/>
              <a:gd name="connsiteY3" fmla="*/ 1540111 h 1540111"/>
              <a:gd name="connsiteX4" fmla="*/ 0 w 4071101"/>
              <a:gd name="connsiteY4" fmla="*/ 1534149 h 1540111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703 h 1542665"/>
              <a:gd name="connsiteX1" fmla="*/ 1313533 w 4071101"/>
              <a:gd name="connsiteY1" fmla="*/ 346 h 1542665"/>
              <a:gd name="connsiteX2" fmla="*/ 4071101 w 4071101"/>
              <a:gd name="connsiteY2" fmla="*/ 2946 h 1542665"/>
              <a:gd name="connsiteX3" fmla="*/ 2721847 w 4071101"/>
              <a:gd name="connsiteY3" fmla="*/ 1542665 h 1542665"/>
              <a:gd name="connsiteX4" fmla="*/ 0 w 4071101"/>
              <a:gd name="connsiteY4" fmla="*/ 1536703 h 1542665"/>
              <a:gd name="connsiteX0" fmla="*/ 0 w 4071101"/>
              <a:gd name="connsiteY0" fmla="*/ 1536357 h 1542319"/>
              <a:gd name="connsiteX1" fmla="*/ 1313533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24291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1185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71101"/>
              <a:gd name="connsiteY0" fmla="*/ 1536357 h 1542319"/>
              <a:gd name="connsiteX1" fmla="*/ 1356564 w 4071101"/>
              <a:gd name="connsiteY1" fmla="*/ 0 h 1542319"/>
              <a:gd name="connsiteX2" fmla="*/ 4071101 w 4071101"/>
              <a:gd name="connsiteY2" fmla="*/ 2600 h 1542319"/>
              <a:gd name="connsiteX3" fmla="*/ 2721847 w 4071101"/>
              <a:gd name="connsiteY3" fmla="*/ 1542319 h 1542319"/>
              <a:gd name="connsiteX4" fmla="*/ 0 w 4071101"/>
              <a:gd name="connsiteY4" fmla="*/ 1536357 h 1542319"/>
              <a:gd name="connsiteX0" fmla="*/ 0 w 4049586"/>
              <a:gd name="connsiteY0" fmla="*/ 1536357 h 1542319"/>
              <a:gd name="connsiteX1" fmla="*/ 1335049 w 4049586"/>
              <a:gd name="connsiteY1" fmla="*/ 0 h 1542319"/>
              <a:gd name="connsiteX2" fmla="*/ 4049586 w 4049586"/>
              <a:gd name="connsiteY2" fmla="*/ 2600 h 1542319"/>
              <a:gd name="connsiteX3" fmla="*/ 2700332 w 4049586"/>
              <a:gd name="connsiteY3" fmla="*/ 1542319 h 1542319"/>
              <a:gd name="connsiteX4" fmla="*/ 0 w 4049586"/>
              <a:gd name="connsiteY4" fmla="*/ 1536357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  <a:gd name="connsiteX0" fmla="*/ 0 w 4054965"/>
              <a:gd name="connsiteY0" fmla="*/ 1533756 h 1542319"/>
              <a:gd name="connsiteX1" fmla="*/ 1340428 w 4054965"/>
              <a:gd name="connsiteY1" fmla="*/ 0 h 1542319"/>
              <a:gd name="connsiteX2" fmla="*/ 4054965 w 4054965"/>
              <a:gd name="connsiteY2" fmla="*/ 2600 h 1542319"/>
              <a:gd name="connsiteX3" fmla="*/ 2705711 w 4054965"/>
              <a:gd name="connsiteY3" fmla="*/ 1542319 h 1542319"/>
              <a:gd name="connsiteX4" fmla="*/ 0 w 4054965"/>
              <a:gd name="connsiteY4" fmla="*/ 1533756 h 1542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4965" h="1542319">
                <a:moveTo>
                  <a:pt x="0" y="1533756"/>
                </a:moveTo>
                <a:lnTo>
                  <a:pt x="1340428" y="0"/>
                </a:lnTo>
                <a:lnTo>
                  <a:pt x="4054965" y="2600"/>
                </a:lnTo>
                <a:cubicBezTo>
                  <a:pt x="3578541" y="540509"/>
                  <a:pt x="3325892" y="848409"/>
                  <a:pt x="2705711" y="1542319"/>
                </a:cubicBezTo>
                <a:lnTo>
                  <a:pt x="0" y="1533756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4"/>
          </p:nvPr>
        </p:nvSpPr>
        <p:spPr>
          <a:xfrm>
            <a:off x="-42291" y="1290825"/>
            <a:ext cx="4416636" cy="3914494"/>
          </a:xfrm>
          <a:custGeom>
            <a:avLst/>
            <a:gdLst>
              <a:gd name="connsiteX0" fmla="*/ 0 w 4394200"/>
              <a:gd name="connsiteY0" fmla="*/ 2970212 h 2970212"/>
              <a:gd name="connsiteX1" fmla="*/ 742553 w 4394200"/>
              <a:gd name="connsiteY1" fmla="*/ 0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8341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324200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394200"/>
              <a:gd name="connsiteY0" fmla="*/ 2970212 h 2970212"/>
              <a:gd name="connsiteX1" fmla="*/ 282364 w 4394200"/>
              <a:gd name="connsiteY1" fmla="*/ 5976 h 2970212"/>
              <a:gd name="connsiteX2" fmla="*/ 4394200 w 4394200"/>
              <a:gd name="connsiteY2" fmla="*/ 0 h 2970212"/>
              <a:gd name="connsiteX3" fmla="*/ 3651647 w 4394200"/>
              <a:gd name="connsiteY3" fmla="*/ 2970212 h 2970212"/>
              <a:gd name="connsiteX4" fmla="*/ 0 w 4394200"/>
              <a:gd name="connsiteY4" fmla="*/ 2970212 h 2970212"/>
              <a:gd name="connsiteX0" fmla="*/ 0 w 4699000"/>
              <a:gd name="connsiteY0" fmla="*/ 2970212 h 2970212"/>
              <a:gd name="connsiteX1" fmla="*/ 282364 w 4699000"/>
              <a:gd name="connsiteY1" fmla="*/ 5976 h 2970212"/>
              <a:gd name="connsiteX2" fmla="*/ 4699000 w 4699000"/>
              <a:gd name="connsiteY2" fmla="*/ 0 h 2970212"/>
              <a:gd name="connsiteX3" fmla="*/ 3651647 w 4699000"/>
              <a:gd name="connsiteY3" fmla="*/ 2970212 h 2970212"/>
              <a:gd name="connsiteX4" fmla="*/ 0 w 4699000"/>
              <a:gd name="connsiteY4" fmla="*/ 2970212 h 2970212"/>
              <a:gd name="connsiteX0" fmla="*/ 0 w 4699000"/>
              <a:gd name="connsiteY0" fmla="*/ 2970212 h 3998165"/>
              <a:gd name="connsiteX1" fmla="*/ 282364 w 4699000"/>
              <a:gd name="connsiteY1" fmla="*/ 5976 h 3998165"/>
              <a:gd name="connsiteX2" fmla="*/ 4699000 w 4699000"/>
              <a:gd name="connsiteY2" fmla="*/ 0 h 3998165"/>
              <a:gd name="connsiteX3" fmla="*/ 3006188 w 4699000"/>
              <a:gd name="connsiteY3" fmla="*/ 3998165 h 3998165"/>
              <a:gd name="connsiteX4" fmla="*/ 0 w 4699000"/>
              <a:gd name="connsiteY4" fmla="*/ 2970212 h 3998165"/>
              <a:gd name="connsiteX0" fmla="*/ 10483 w 4416636"/>
              <a:gd name="connsiteY0" fmla="*/ 3872659 h 3998165"/>
              <a:gd name="connsiteX1" fmla="*/ 0 w 4416636"/>
              <a:gd name="connsiteY1" fmla="*/ 5976 h 3998165"/>
              <a:gd name="connsiteX2" fmla="*/ 4416636 w 4416636"/>
              <a:gd name="connsiteY2" fmla="*/ 0 h 3998165"/>
              <a:gd name="connsiteX3" fmla="*/ 2723824 w 4416636"/>
              <a:gd name="connsiteY3" fmla="*/ 3998165 h 3998165"/>
              <a:gd name="connsiteX4" fmla="*/ 10483 w 4416636"/>
              <a:gd name="connsiteY4" fmla="*/ 3872659 h 3998165"/>
              <a:gd name="connsiteX0" fmla="*/ 10483 w 4416636"/>
              <a:gd name="connsiteY0" fmla="*/ 3872659 h 3890588"/>
              <a:gd name="connsiteX1" fmla="*/ 0 w 4416636"/>
              <a:gd name="connsiteY1" fmla="*/ 5976 h 3890588"/>
              <a:gd name="connsiteX2" fmla="*/ 4416636 w 4416636"/>
              <a:gd name="connsiteY2" fmla="*/ 0 h 3890588"/>
              <a:gd name="connsiteX3" fmla="*/ 2777613 w 4416636"/>
              <a:gd name="connsiteY3" fmla="*/ 3890588 h 3890588"/>
              <a:gd name="connsiteX4" fmla="*/ 10483 w 4416636"/>
              <a:gd name="connsiteY4" fmla="*/ 3872659 h 3890588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77613 w 4416636"/>
              <a:gd name="connsiteY3" fmla="*/ 3890588 h 3914494"/>
              <a:gd name="connsiteX4" fmla="*/ 10483 w 4416636"/>
              <a:gd name="connsiteY4" fmla="*/ 3914494 h 3914494"/>
              <a:gd name="connsiteX0" fmla="*/ 10483 w 4416636"/>
              <a:gd name="connsiteY0" fmla="*/ 3914494 h 3914494"/>
              <a:gd name="connsiteX1" fmla="*/ 0 w 4416636"/>
              <a:gd name="connsiteY1" fmla="*/ 5976 h 3914494"/>
              <a:gd name="connsiteX2" fmla="*/ 4416636 w 4416636"/>
              <a:gd name="connsiteY2" fmla="*/ 0 h 3914494"/>
              <a:gd name="connsiteX3" fmla="*/ 2764734 w 4416636"/>
              <a:gd name="connsiteY3" fmla="*/ 3897027 h 3914494"/>
              <a:gd name="connsiteX4" fmla="*/ 10483 w 4416636"/>
              <a:gd name="connsiteY4" fmla="*/ 3914494 h 3914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6636" h="3914494">
                <a:moveTo>
                  <a:pt x="10483" y="3914494"/>
                </a:moveTo>
                <a:cubicBezTo>
                  <a:pt x="6989" y="2625600"/>
                  <a:pt x="3494" y="1294870"/>
                  <a:pt x="0" y="5976"/>
                </a:cubicBezTo>
                <a:lnTo>
                  <a:pt x="4416636" y="0"/>
                </a:lnTo>
                <a:lnTo>
                  <a:pt x="2764734" y="3897027"/>
                </a:lnTo>
                <a:lnTo>
                  <a:pt x="10483" y="3914494"/>
                </a:lnTo>
                <a:close/>
              </a:path>
            </a:pathLst>
          </a:custGeo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45866" y="474381"/>
            <a:ext cx="8057777" cy="74481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18"/>
          </p:nvPr>
        </p:nvSpPr>
        <p:spPr>
          <a:xfrm>
            <a:off x="8419364" y="0"/>
            <a:ext cx="537069" cy="337532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05597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5866" y="474380"/>
            <a:ext cx="8057777" cy="7448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5866" y="1420813"/>
            <a:ext cx="8057775" cy="317817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Untertitel</a:t>
            </a:r>
            <a:endParaRPr lang="en-GB" noProof="0" dirty="0"/>
          </a:p>
          <a:p>
            <a:pPr lvl="1"/>
            <a:r>
              <a:rPr lang="en-GB" noProof="0" dirty="0"/>
              <a:t>2.</a:t>
            </a:r>
          </a:p>
          <a:p>
            <a:pPr lvl="2"/>
            <a:r>
              <a:rPr lang="en-GB" noProof="0" dirty="0"/>
              <a:t>3.</a:t>
            </a:r>
          </a:p>
          <a:p>
            <a:pPr lvl="3"/>
            <a:r>
              <a:rPr lang="en-GB" noProof="0" dirty="0"/>
              <a:t>4.</a:t>
            </a:r>
          </a:p>
          <a:p>
            <a:pPr lvl="4"/>
            <a:r>
              <a:rPr lang="en-GB" noProof="0" dirty="0"/>
              <a:t>5.</a:t>
            </a:r>
          </a:p>
        </p:txBody>
      </p:sp>
      <p:sp>
        <p:nvSpPr>
          <p:cNvPr id="8" name="Foliennummernplatzhalter 16"/>
          <p:cNvSpPr>
            <a:spLocks noGrp="1"/>
          </p:cNvSpPr>
          <p:nvPr>
            <p:ph type="sldNum" sz="quarter" idx="4"/>
          </p:nvPr>
        </p:nvSpPr>
        <p:spPr>
          <a:xfrm>
            <a:off x="8419363" y="0"/>
            <a:ext cx="537069" cy="337532"/>
          </a:xfrm>
          <a:custGeom>
            <a:avLst/>
            <a:gdLst>
              <a:gd name="connsiteX0" fmla="*/ 0 w 462372"/>
              <a:gd name="connsiteY0" fmla="*/ 325897 h 325897"/>
              <a:gd name="connsiteX1" fmla="*/ 81474 w 462372"/>
              <a:gd name="connsiteY1" fmla="*/ 0 h 325897"/>
              <a:gd name="connsiteX2" fmla="*/ 462372 w 462372"/>
              <a:gd name="connsiteY2" fmla="*/ 0 h 325897"/>
              <a:gd name="connsiteX3" fmla="*/ 380898 w 462372"/>
              <a:gd name="connsiteY3" fmla="*/ 325897 h 325897"/>
              <a:gd name="connsiteX4" fmla="*/ 0 w 462372"/>
              <a:gd name="connsiteY4" fmla="*/ 325897 h 325897"/>
              <a:gd name="connsiteX0" fmla="*/ 0 w 1273741"/>
              <a:gd name="connsiteY0" fmla="*/ 328472 h 328472"/>
              <a:gd name="connsiteX1" fmla="*/ 81474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28472"/>
              <a:gd name="connsiteX1" fmla="*/ 743448 w 1273741"/>
              <a:gd name="connsiteY1" fmla="*/ 2575 h 328472"/>
              <a:gd name="connsiteX2" fmla="*/ 1273741 w 1273741"/>
              <a:gd name="connsiteY2" fmla="*/ 0 h 328472"/>
              <a:gd name="connsiteX3" fmla="*/ 380898 w 1273741"/>
              <a:gd name="connsiteY3" fmla="*/ 328472 h 328472"/>
              <a:gd name="connsiteX4" fmla="*/ 0 w 1273741"/>
              <a:gd name="connsiteY4" fmla="*/ 328472 h 328472"/>
              <a:gd name="connsiteX0" fmla="*/ 0 w 1273741"/>
              <a:gd name="connsiteY0" fmla="*/ 328472 h 331048"/>
              <a:gd name="connsiteX1" fmla="*/ 743448 w 1273741"/>
              <a:gd name="connsiteY1" fmla="*/ 2575 h 331048"/>
              <a:gd name="connsiteX2" fmla="*/ 1273741 w 1273741"/>
              <a:gd name="connsiteY2" fmla="*/ 0 h 331048"/>
              <a:gd name="connsiteX3" fmla="*/ 1127872 w 1273741"/>
              <a:gd name="connsiteY3" fmla="*/ 331048 h 331048"/>
              <a:gd name="connsiteX4" fmla="*/ 0 w 1273741"/>
              <a:gd name="connsiteY4" fmla="*/ 328472 h 331048"/>
              <a:gd name="connsiteX0" fmla="*/ 0 w 640100"/>
              <a:gd name="connsiteY0" fmla="*/ 328472 h 331048"/>
              <a:gd name="connsiteX1" fmla="*/ 109807 w 640100"/>
              <a:gd name="connsiteY1" fmla="*/ 2575 h 331048"/>
              <a:gd name="connsiteX2" fmla="*/ 640100 w 640100"/>
              <a:gd name="connsiteY2" fmla="*/ 0 h 331048"/>
              <a:gd name="connsiteX3" fmla="*/ 494231 w 640100"/>
              <a:gd name="connsiteY3" fmla="*/ 331048 h 331048"/>
              <a:gd name="connsiteX4" fmla="*/ 0 w 640100"/>
              <a:gd name="connsiteY4" fmla="*/ 328472 h 331048"/>
              <a:gd name="connsiteX0" fmla="*/ 0 w 640100"/>
              <a:gd name="connsiteY0" fmla="*/ 336200 h 338776"/>
              <a:gd name="connsiteX1" fmla="*/ 375112 w 640100"/>
              <a:gd name="connsiteY1" fmla="*/ 0 h 338776"/>
              <a:gd name="connsiteX2" fmla="*/ 640100 w 640100"/>
              <a:gd name="connsiteY2" fmla="*/ 7728 h 338776"/>
              <a:gd name="connsiteX3" fmla="*/ 494231 w 640100"/>
              <a:gd name="connsiteY3" fmla="*/ 338776 h 338776"/>
              <a:gd name="connsiteX4" fmla="*/ 0 w 640100"/>
              <a:gd name="connsiteY4" fmla="*/ 336200 h 338776"/>
              <a:gd name="connsiteX0" fmla="*/ 0 w 640100"/>
              <a:gd name="connsiteY0" fmla="*/ 331049 h 333625"/>
              <a:gd name="connsiteX1" fmla="*/ 248899 w 640100"/>
              <a:gd name="connsiteY1" fmla="*/ 0 h 333625"/>
              <a:gd name="connsiteX2" fmla="*/ 640100 w 640100"/>
              <a:gd name="connsiteY2" fmla="*/ 2577 h 333625"/>
              <a:gd name="connsiteX3" fmla="*/ 494231 w 640100"/>
              <a:gd name="connsiteY3" fmla="*/ 333625 h 333625"/>
              <a:gd name="connsiteX4" fmla="*/ 0 w 640100"/>
              <a:gd name="connsiteY4" fmla="*/ 331049 h 333625"/>
              <a:gd name="connsiteX0" fmla="*/ 0 w 537069"/>
              <a:gd name="connsiteY0" fmla="*/ 336200 h 336200"/>
              <a:gd name="connsiteX1" fmla="*/ 145868 w 537069"/>
              <a:gd name="connsiteY1" fmla="*/ 0 h 336200"/>
              <a:gd name="connsiteX2" fmla="*/ 537069 w 537069"/>
              <a:gd name="connsiteY2" fmla="*/ 2577 h 336200"/>
              <a:gd name="connsiteX3" fmla="*/ 391200 w 537069"/>
              <a:gd name="connsiteY3" fmla="*/ 333625 h 336200"/>
              <a:gd name="connsiteX4" fmla="*/ 0 w 537069"/>
              <a:gd name="connsiteY4" fmla="*/ 336200 h 336200"/>
              <a:gd name="connsiteX0" fmla="*/ 0 w 537069"/>
              <a:gd name="connsiteY0" fmla="*/ 336200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6200 h 338776"/>
              <a:gd name="connsiteX0" fmla="*/ 0 w 537069"/>
              <a:gd name="connsiteY0" fmla="*/ 338776 h 338776"/>
              <a:gd name="connsiteX1" fmla="*/ 145868 w 537069"/>
              <a:gd name="connsiteY1" fmla="*/ 0 h 338776"/>
              <a:gd name="connsiteX2" fmla="*/ 537069 w 537069"/>
              <a:gd name="connsiteY2" fmla="*/ 2577 h 338776"/>
              <a:gd name="connsiteX3" fmla="*/ 393776 w 537069"/>
              <a:gd name="connsiteY3" fmla="*/ 338776 h 338776"/>
              <a:gd name="connsiteX4" fmla="*/ 0 w 537069"/>
              <a:gd name="connsiteY4" fmla="*/ 338776 h 33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069" h="338776">
                <a:moveTo>
                  <a:pt x="0" y="338776"/>
                </a:moveTo>
                <a:lnTo>
                  <a:pt x="145868" y="0"/>
                </a:lnTo>
                <a:lnTo>
                  <a:pt x="537069" y="2577"/>
                </a:lnTo>
                <a:lnTo>
                  <a:pt x="393776" y="338776"/>
                </a:lnTo>
                <a:lnTo>
                  <a:pt x="0" y="338776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0" tIns="0" rIns="36000" bIns="36000" rtlCol="0" anchor="b" anchorCtr="0"/>
          <a:lstStyle>
            <a:lvl1pPr algn="ctr">
              <a:lnSpc>
                <a:spcPts val="1800"/>
              </a:lnSpc>
              <a:defRPr sz="1000">
                <a:solidFill>
                  <a:schemeClr val="bg2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defRPr>
            </a:lvl1pPr>
          </a:lstStyle>
          <a:p>
            <a:fld id="{35052C29-CE5B-4965-8C8E-B011681D2A77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138113" y="391273"/>
            <a:ext cx="314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3200" dirty="0">
                <a:solidFill>
                  <a:schemeClr val="accent1"/>
                </a:solidFill>
                <a:latin typeface="Lato Bold" panose="020F0502020204030203" pitchFamily="34" charset="0"/>
                <a:ea typeface="Lato Bold" panose="020F0502020204030203" pitchFamily="34" charset="0"/>
                <a:cs typeface="Lato Bold" panose="020F0502020204030203" pitchFamily="34" charset="0"/>
              </a:rPr>
              <a:t>/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7F46576E-74F6-450E-989E-40015FDF4796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rgbClr val="00B3E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2902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</p:sldLayoutIdLst>
  <p:hf hdr="0" ftr="0" dt="0"/>
  <p:txStyles>
    <p:titleStyle>
      <a:lvl1pPr algn="l" defTabSz="685983" rtl="0" eaLnBrk="1" latinLnBrk="0" hangingPunct="1">
        <a:lnSpc>
          <a:spcPts val="39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Lato Light" panose="020F0502020204030203" pitchFamily="34" charset="0"/>
          <a:ea typeface="Lato Light" panose="020F0502020204030203" pitchFamily="34" charset="0"/>
          <a:cs typeface="Lato Light" panose="020F0502020204030203" pitchFamily="34" charset="0"/>
        </a:defRPr>
      </a:lvl1pPr>
    </p:titleStyle>
    <p:bodyStyle>
      <a:lvl1pPr marL="0" indent="0" algn="l" defTabSz="685983" rtl="0" eaLnBrk="1" latinLnBrk="0" hangingPunct="1">
        <a:lnSpc>
          <a:spcPts val="2000"/>
        </a:lnSpc>
        <a:spcBef>
          <a:spcPts val="750"/>
        </a:spcBef>
        <a:spcAft>
          <a:spcPts val="850"/>
        </a:spcAft>
        <a:buFont typeface="Arial" panose="020B0604020202020204" pitchFamily="34" charset="0"/>
        <a:buNone/>
        <a:defRPr sz="1600" kern="1200">
          <a:solidFill>
            <a:schemeClr val="accent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1pPr>
      <a:lvl2pPr marL="0" indent="0" algn="l" defTabSz="685983" rtl="0" eaLnBrk="1" latinLnBrk="0" hangingPunct="1">
        <a:lnSpc>
          <a:spcPts val="18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2pPr>
      <a:lvl3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3pPr>
      <a:lvl4pPr marL="0" indent="0" algn="l" defTabSz="685983" rtl="0" eaLnBrk="1" latinLnBrk="0" hangingPunct="1">
        <a:lnSpc>
          <a:spcPts val="13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4pPr>
      <a:lvl5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5pPr>
      <a:lvl6pPr marL="0" indent="0" algn="l" defTabSz="685983" rtl="0" eaLnBrk="1" latinLnBrk="0" hangingPunct="1">
        <a:lnSpc>
          <a:spcPts val="800"/>
        </a:lnSpc>
        <a:spcBef>
          <a:spcPts val="0"/>
        </a:spcBef>
        <a:buFont typeface="Arial" panose="020B0604020202020204" pitchFamily="34" charset="0"/>
        <a:buNone/>
        <a:defRPr sz="600" kern="1200">
          <a:solidFill>
            <a:schemeClr val="tx1"/>
          </a:solidFill>
          <a:latin typeface="Lato regular" panose="020F0502020204030203" pitchFamily="34" charset="0"/>
          <a:ea typeface="Lato regular" panose="020F0502020204030203" pitchFamily="34" charset="0"/>
          <a:cs typeface="Lato regular" panose="020F0502020204030203" pitchFamily="34" charset="0"/>
        </a:defRPr>
      </a:lvl6pPr>
      <a:lvl7pPr marL="2229444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2436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5427" indent="-171496" algn="l" defTabSz="6859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91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983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974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966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957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949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940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932" algn="l" defTabSz="6859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1">
          <p15:clr>
            <a:srgbClr val="F26B43"/>
          </p15:clr>
        </p15:guide>
        <p15:guide id="2" orient="horz" pos="2897">
          <p15:clr>
            <a:srgbClr val="F26B43"/>
          </p15:clr>
        </p15:guide>
        <p15:guide id="3" pos="5421">
          <p15:clr>
            <a:srgbClr val="F26B43"/>
          </p15:clr>
        </p15:guide>
        <p15:guide id="4" orient="horz" pos="3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060018F8-5BA3-2547-9078-BE757BE0275C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1" b="12501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0AC8D1B-02BC-40C1-8C91-F45897FDF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979" y="3911096"/>
            <a:ext cx="7211696" cy="6940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CH" sz="2400" dirty="0" err="1">
                <a:solidFill>
                  <a:schemeClr val="lt1"/>
                </a:solidFill>
              </a:rPr>
              <a:t>Water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saving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and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leakage</a:t>
            </a:r>
            <a:r>
              <a:rPr lang="de-CH" sz="2400" dirty="0">
                <a:solidFill>
                  <a:schemeClr val="lt1"/>
                </a:solidFill>
              </a:rPr>
              <a:t> </a:t>
            </a:r>
            <a:r>
              <a:rPr lang="de-CH" sz="2400" dirty="0" err="1">
                <a:solidFill>
                  <a:schemeClr val="lt1"/>
                </a:solidFill>
              </a:rPr>
              <a:t>Protection</a:t>
            </a:r>
            <a:r>
              <a:rPr lang="de-CH" sz="2400" dirty="0">
                <a:solidFill>
                  <a:schemeClr val="lt1"/>
                </a:solidFill>
              </a:rPr>
              <a:t> System</a:t>
            </a:r>
            <a:br>
              <a:rPr lang="de-CH" sz="2400" dirty="0">
                <a:solidFill>
                  <a:schemeClr val="lt1"/>
                </a:solidFill>
              </a:rPr>
            </a:br>
            <a:r>
              <a:rPr lang="de-CH" sz="1000" dirty="0">
                <a:solidFill>
                  <a:schemeClr val="lt1"/>
                </a:solidFill>
              </a:rPr>
              <a:t>Semesterproject Group02 - HS2020</a:t>
            </a:r>
            <a:br>
              <a:rPr lang="de-CH" sz="1000" dirty="0">
                <a:solidFill>
                  <a:schemeClr val="lt1"/>
                </a:solidFill>
              </a:rPr>
            </a:br>
            <a:r>
              <a:rPr lang="de-CH" sz="1000" dirty="0" err="1">
                <a:solidFill>
                  <a:schemeClr val="lt1"/>
                </a:solidFill>
              </a:rPr>
              <a:t>Bosshard</a:t>
            </a:r>
            <a:r>
              <a:rPr lang="de-CH" sz="1000" dirty="0">
                <a:solidFill>
                  <a:schemeClr val="lt1"/>
                </a:solidFill>
              </a:rPr>
              <a:t> Nico, </a:t>
            </a:r>
            <a:r>
              <a:rPr lang="de-CH" sz="1000" dirty="0" err="1">
                <a:solidFill>
                  <a:schemeClr val="lt1"/>
                </a:solidFill>
              </a:rPr>
              <a:t>calovic</a:t>
            </a:r>
            <a:r>
              <a:rPr lang="de-CH" sz="1000" dirty="0">
                <a:solidFill>
                  <a:schemeClr val="lt1"/>
                </a:solidFill>
              </a:rPr>
              <a:t> Alexandar, </a:t>
            </a:r>
            <a:r>
              <a:rPr lang="de-CH" sz="1000" dirty="0" err="1">
                <a:solidFill>
                  <a:schemeClr val="lt1"/>
                </a:solidFill>
              </a:rPr>
              <a:t>Kozlov</a:t>
            </a:r>
            <a:r>
              <a:rPr lang="de-CH" sz="1000" dirty="0">
                <a:solidFill>
                  <a:schemeClr val="lt1"/>
                </a:solidFill>
              </a:rPr>
              <a:t> Victor, </a:t>
            </a:r>
            <a:r>
              <a:rPr lang="de-CH" sz="1000" dirty="0" err="1">
                <a:solidFill>
                  <a:schemeClr val="lt1"/>
                </a:solidFill>
              </a:rPr>
              <a:t>Stofer</a:t>
            </a:r>
            <a:r>
              <a:rPr lang="de-CH" sz="1000" dirty="0">
                <a:solidFill>
                  <a:schemeClr val="lt1"/>
                </a:solidFill>
              </a:rPr>
              <a:t> Stephan</a:t>
            </a:r>
            <a:endParaRPr lang="de-CH" sz="2400" dirty="0">
              <a:solidFill>
                <a:schemeClr val="l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3775485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451B28-5211-914C-BE4B-7A97AC1BFC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2</a:t>
            </a:fld>
            <a:endParaRPr lang="de-CH" dirty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D015AF73-2CBF-504C-A3F9-A2A915E36A7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8FFA1C8C-C21B-7545-8F75-1B2DEBBBFF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</a:t>
            </a:r>
            <a:r>
              <a:rPr lang="en-CH"/>
              <a:t>efined structure and ro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H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05E79EE-E057-2A44-BEF3-A2F9B56443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</a:t>
            </a:r>
            <a:r>
              <a:rPr lang="en-US" dirty="0" err="1"/>
              <a:t>Organis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6145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B6AB55-EE21-C543-80FB-B13A90D9D3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12204E3-6E8D-FF43-9C8E-1C96B1DE0E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T</a:t>
            </a:r>
            <a:r>
              <a:rPr lang="en-CH" dirty="0"/>
              <a:t>ext fo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5EAAD62-FC1D-654B-ABAE-92BF600B9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Integrated Circuits</a:t>
            </a:r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220AF709-2231-4048-9CDE-899E1F717AA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01" b="970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578778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F2724E-5507-264F-B1C7-8FD6FD14EE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4</a:t>
            </a:fld>
            <a:endParaRPr lang="de-CH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26BC1D9D-C949-C943-8C65-04932B6B005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76" r="4470"/>
          <a:stretch/>
        </p:blipFill>
        <p:spPr>
          <a:xfrm>
            <a:off x="-4762" y="0"/>
            <a:ext cx="4303712" cy="5145088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738085-E8CA-AA45-8842-D8E6EC881C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Consists of 3 Basis Mod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Reader on ADC Pi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TCP-Client transmit data through TCP Sock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WiFi connector establish connection to Access Poin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226FFE-0BC3-FA41-B583-E73D6AFD0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ESP32 Application</a:t>
            </a:r>
          </a:p>
        </p:txBody>
      </p:sp>
    </p:spTree>
    <p:extLst>
      <p:ext uri="{BB962C8B-B14F-4D97-AF65-F5344CB8AC3E}">
        <p14:creationId xmlns:p14="http://schemas.microsoft.com/office/powerpoint/2010/main" val="3216498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EBC4ED-6EFC-C74C-9CD4-140350AB39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5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728FEE-2D90-8B4D-A1FC-A0B591B99A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WiFi</a:t>
            </a:r>
            <a:r>
              <a:rPr lang="en-GB" dirty="0"/>
              <a:t> Settings and Server-Address is c</a:t>
            </a:r>
            <a:r>
              <a:rPr lang="en-CH" dirty="0"/>
              <a:t>onfigurable through terminal command idf.py menuconfi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IDF-Environment require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184AAAB-026C-464C-846F-EA22E4B84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ESP32 Configuration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15BDDCCC-5BFF-D243-B542-FFE8D3F0C1C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" r="58104"/>
          <a:stretch/>
        </p:blipFill>
        <p:spPr>
          <a:xfrm>
            <a:off x="-4762" y="0"/>
            <a:ext cx="4303712" cy="5145088"/>
          </a:xfrm>
        </p:spPr>
      </p:pic>
    </p:spTree>
    <p:extLst>
      <p:ext uri="{BB962C8B-B14F-4D97-AF65-F5344CB8AC3E}">
        <p14:creationId xmlns:p14="http://schemas.microsoft.com/office/powerpoint/2010/main" val="2175117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31623E-3887-4641-BFA2-23E27942F3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6</a:t>
            </a:fld>
            <a:endParaRPr lang="de-CH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90880E-AA3A-0D4C-844A-13394ADEA08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3FF006-CD16-F148-A4A8-7AEF056AAE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Implemented in 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en-CH" dirty="0"/>
              <a:t>ends email if threshold is excee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blabla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F0C7BB0-732C-5B4C-9C0C-8A679DC2E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Backend Server</a:t>
            </a:r>
          </a:p>
        </p:txBody>
      </p:sp>
    </p:spTree>
    <p:extLst>
      <p:ext uri="{BB962C8B-B14F-4D97-AF65-F5344CB8AC3E}">
        <p14:creationId xmlns:p14="http://schemas.microsoft.com/office/powerpoint/2010/main" val="19162449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5F98D6-6107-CB4C-B76F-D2F0986163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7</a:t>
            </a:fld>
            <a:endParaRPr lang="de-CH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270E32-D3B2-9E4D-AC1F-37827FA317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86A87D-21E5-2D4A-B421-3D62B6BAF2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en-CH" dirty="0"/>
              <a:t>hows latest logged meas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</a:t>
            </a:r>
            <a:r>
              <a:rPr lang="en-CH" dirty="0"/>
              <a:t>mplemented in angula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032442-57F9-0349-980B-7C792B97F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Frontend</a:t>
            </a:r>
          </a:p>
        </p:txBody>
      </p:sp>
    </p:spTree>
    <p:extLst>
      <p:ext uri="{BB962C8B-B14F-4D97-AF65-F5344CB8AC3E}">
        <p14:creationId xmlns:p14="http://schemas.microsoft.com/office/powerpoint/2010/main" val="3775641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FF313E-047F-5048-B7F0-CABB6C43D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Techstack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6BC38D-4EA6-A84F-8478-3EAC51B2DF8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052C29-CE5B-4965-8C8E-B011681D2A77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9F0EA26-CE11-D643-B780-217E580779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CH" dirty="0"/>
              <a:t>LANGU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</a:t>
            </a:r>
            <a:r>
              <a:rPr lang="en-CH" dirty="0"/>
              <a:t>+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Typescrip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97D142-7AEC-3F4B-93D0-8B6E053641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CH" dirty="0"/>
              <a:t>FRAMEWOR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E</a:t>
            </a:r>
            <a:r>
              <a:rPr lang="en-CH" dirty="0"/>
              <a:t>spressi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Angula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B348E2D-2A87-6643-9C8F-9303D57C6C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H" dirty="0"/>
              <a:t>HARD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ESP3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Raspberry Pi zer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Piezo Sen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H" dirty="0"/>
              <a:t>Voltage pulse circuits</a:t>
            </a:r>
          </a:p>
        </p:txBody>
      </p:sp>
    </p:spTree>
    <p:extLst>
      <p:ext uri="{BB962C8B-B14F-4D97-AF65-F5344CB8AC3E}">
        <p14:creationId xmlns:p14="http://schemas.microsoft.com/office/powerpoint/2010/main" val="729453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5E6E60-B1E7-FB4E-AF40-5F086E626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0716" y="864972"/>
            <a:ext cx="5315123" cy="372760"/>
          </a:xfrm>
        </p:spPr>
        <p:txBody>
          <a:bodyPr/>
          <a:lstStyle/>
          <a:p>
            <a:r>
              <a:rPr lang="en-GB" dirty="0"/>
              <a:t>Ques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D25F9D-7E5F-DB4A-9D90-07C6924B26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419364" y="0"/>
            <a:ext cx="537069" cy="337532"/>
          </a:xfrm>
        </p:spPr>
        <p:txBody>
          <a:bodyPr/>
          <a:lstStyle/>
          <a:p>
            <a:fld id="{35052C29-CE5B-4965-8C8E-B011681D2A77}" type="slidenum">
              <a:rPr lang="de-CH" smtClean="0"/>
              <a:pPr/>
              <a:t>9</a:t>
            </a:fld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B505A9-BBFB-014C-B32C-39A8D15BE0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90716" y="1645355"/>
            <a:ext cx="5315122" cy="2953634"/>
          </a:xfrm>
        </p:spPr>
        <p:txBody>
          <a:bodyPr/>
          <a:lstStyle/>
          <a:p>
            <a:r>
              <a:rPr lang="en-GB" dirty="0"/>
              <a:t>Thank you for your attention</a:t>
            </a:r>
          </a:p>
          <a:p>
            <a:pPr lvl="1"/>
            <a:r>
              <a:rPr lang="en-GB" dirty="0"/>
              <a:t>Group02, HS2020</a:t>
            </a:r>
          </a:p>
        </p:txBody>
      </p:sp>
    </p:spTree>
    <p:extLst>
      <p:ext uri="{BB962C8B-B14F-4D97-AF65-F5344CB8AC3E}">
        <p14:creationId xmlns:p14="http://schemas.microsoft.com/office/powerpoint/2010/main" val="1104460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841"/>
  <p:tag name="MIO_FALLBACK_LAYOUT" val="30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30"/>
  <p:tag name="MIO_HDS" val="True"/>
  <p:tag name="MIO_SKIPVERSION" val="01.01.0001 00:00:00"/>
  <p:tag name="MIO_EKGUID" val="45d2b2b7-f2e0-45bc-8c6e-5674165245fb"/>
  <p:tag name="MIO_UPDATE" val="True"/>
  <p:tag name="MIO_VERSION" val="07.12.2017 16:11:08"/>
  <p:tag name="MIO_DBID" val="8F684677-3FC0-4CE4-9ED5-BB3254268BEA"/>
  <p:tag name="MIO_LASTDOWNLOADED" val="20.12.2017 13:17:17"/>
  <p:tag name="MIO_OBJECTNAME" val="toxicFM"/>
  <p:tag name="MIO_CDID" val="76e4a38e-0c0f-4477-9637-fbe3155b0d2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b41f7e-fefe-46d3-afee-ff507f5a5e1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Office">
  <a:themeElements>
    <a:clrScheme name="ToxicFM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353535"/>
      </a:accent1>
      <a:accent2>
        <a:srgbClr val="575757"/>
      </a:accent2>
      <a:accent3>
        <a:srgbClr val="878787"/>
      </a:accent3>
      <a:accent4>
        <a:srgbClr val="B3B3B3"/>
      </a:accent4>
      <a:accent5>
        <a:srgbClr val="DADADA"/>
      </a:accent5>
      <a:accent6>
        <a:srgbClr val="ECECEC"/>
      </a:accent6>
      <a:hlink>
        <a:srgbClr val="B3B3B3"/>
      </a:hlink>
      <a:folHlink>
        <a:srgbClr val="B3B3B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runge-Muster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67000"/>
                <a:shade val="65000"/>
              </a:schemeClr>
              <a:schemeClr val="phClr">
                <a:tint val="10000"/>
                <a:satMod val="130000"/>
              </a:schemeClr>
            </a:duotone>
          </a:blip>
          <a:tile tx="0" ty="0" sx="60000" sy="59000" flip="none" algn="b"/>
        </a:blipFill>
        <a:blipFill rotWithShape="1">
          <a:blip xmlns:r="http://schemas.openxmlformats.org/officeDocument/2006/relationships" r:embed="rId1">
            <a:duotone>
              <a:schemeClr val="phClr">
                <a:shade val="30000"/>
                <a:satMod val="115000"/>
              </a:schemeClr>
              <a:schemeClr val="phClr">
                <a:tint val="34000"/>
              </a:schemeClr>
            </a:duotone>
          </a:blip>
          <a:tile tx="0" ty="0" sx="60000" sy="59000" flip="none" algn="b"/>
        </a:blipFill>
      </a:fillStyleLst>
      <a:lnStyleLst>
        <a:ln w="6350" cap="flat" cmpd="sng" algn="ctr">
          <a:solidFill>
            <a:schemeClr val="phClr">
              <a:tint val="7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DBB00"/>
        </a:solidFill>
        <a:ln w="0"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000000"/>
            </a:solidFill>
            <a:latin typeface="Lato" panose="020F0502020204030203" pitchFamily="34" charset="0"/>
            <a:ea typeface="Lato regular" panose="020F0502020204030203" pitchFamily="34" charset="0"/>
            <a:cs typeface="Lato regular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01DF8C97-E589-4334-B240-2EB022EF93A2}" vid="{143BF51E-D7A1-42A6-A6BF-EEEF0E0E9CF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41</TotalTime>
  <Words>142</Words>
  <Application>Microsoft Macintosh PowerPoint</Application>
  <PresentationFormat>Custom</PresentationFormat>
  <Paragraphs>50</Paragraphs>
  <Slides>9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Lato</vt:lpstr>
      <vt:lpstr>Lato Black</vt:lpstr>
      <vt:lpstr>Lato Bold</vt:lpstr>
      <vt:lpstr>Lato Light</vt:lpstr>
      <vt:lpstr>Lato regular</vt:lpstr>
      <vt:lpstr>1_Office</vt:lpstr>
      <vt:lpstr>Water saving and leakage Protection System Semesterproject Group02 - HS2020 Bosshard Nico, calovic Alexandar, Kozlov Victor, Stofer Stephan</vt:lpstr>
      <vt:lpstr>Project Organisation</vt:lpstr>
      <vt:lpstr>Integrated Circuits</vt:lpstr>
      <vt:lpstr>ESP32 Application</vt:lpstr>
      <vt:lpstr>ESP32 Configuration</vt:lpstr>
      <vt:lpstr>Backend Server</vt:lpstr>
      <vt:lpstr>Frontend</vt:lpstr>
      <vt:lpstr>Techstack</vt:lpstr>
      <vt:lpstr>Questions</vt:lpstr>
    </vt:vector>
  </TitlesOfParts>
  <Company>NZZ Mediengrup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ofer Stephan</dc:creator>
  <cp:lastModifiedBy>Stofer Stephan HSLU I</cp:lastModifiedBy>
  <cp:revision>136</cp:revision>
  <cp:lastPrinted>2018-01-08T23:57:59Z</cp:lastPrinted>
  <dcterms:created xsi:type="dcterms:W3CDTF">2017-12-20T12:16:39Z</dcterms:created>
  <dcterms:modified xsi:type="dcterms:W3CDTF">2020-12-12T20:24:18Z</dcterms:modified>
</cp:coreProperties>
</file>